
<file path=[Content_Types].xml><?xml version="1.0" encoding="utf-8"?>
<Types xmlns="http://schemas.openxmlformats.org/package/2006/content-types">
  <Override PartName="/ppt/theme/theme5.xml" ContentType="application/vnd.openxmlformats-officedocument.theme+xml"/>
  <Override PartName="/ppt/slideLayouts/slideLayout307.xml" ContentType="application/vnd.openxmlformats-officedocument.presentationml.slideLayout+xml"/>
  <Override PartName="/ppt/tags/tag8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269.xml" ContentType="application/vnd.openxmlformats-officedocument.presentationml.slideLayout+xml"/>
  <Default Extension="xml" ContentType="application/xml"/>
  <Override PartName="/ppt/slideLayouts/slideLayout24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310.xml" ContentType="application/vnd.openxmlformats-officedocument.presentationml.slideLayout+xml"/>
  <Override PartName="/ppt/notesSlides/notesSlide16.xml" ContentType="application/vnd.openxmlformats-officedocument.presentationml.notesSlide+xml"/>
  <Override PartName="/ppt/slideLayouts/slideLayout102.xml" ContentType="application/vnd.openxmlformats-officedocument.presentationml.slideLayout+xml"/>
  <Override PartName="/ppt/slideMasters/slideMaster8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Layouts/slideLayout225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50.xml" ContentType="application/vnd.openxmlformats-officedocument.presentationml.slideLayout+xml"/>
  <Override PartName="/ppt/notesSlides/notesSlide7.xml" ContentType="application/vnd.openxmlformats-officedocument.presentationml.notesSlide+xml"/>
  <Override PartName="/ppt/slideLayouts/slideLayout87.xml" ContentType="application/vnd.openxmlformats-officedocument.presentationml.slideLayout+xml"/>
  <Override PartName="/ppt/slideLayouts/slideLayout187.xml" ContentType="application/vnd.openxmlformats-officedocument.presentationml.slideLayout+xml"/>
  <Override PartName="/ppt/theme/theme10.xml" ContentType="application/vnd.openxmlformats-officedocument.theme+xml"/>
  <Override PartName="/ppt/slideLayouts/slideLayout326.xml" ContentType="application/vnd.openxmlformats-officedocument.presentationml.slideLayout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slideLayouts/slideLayout29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4.xml" ContentType="application/vnd.openxmlformats-officedocument.presentationml.slideLayout+xml"/>
  <Override PartName="/ppt/tags/tag5.xml" ContentType="application/vnd.openxmlformats-officedocument.presentationml.tags+xml"/>
  <Default Extension="emf" ContentType="image/x-emf"/>
  <Override PartName="/ppt/slideLayouts/slideLayout4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presentation.xml" ContentType="application/vnd.openxmlformats-officedocument.presentationml.presentation.main+xml"/>
  <Override PartName="/ppt/slideMasters/slideMaster16.xml" ContentType="application/vnd.openxmlformats-officedocument.presentationml.slideMaster+xml"/>
  <Override PartName="/ppt/slideLayouts/slideLayout32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66.xml" ContentType="application/vnd.openxmlformats-officedocument.presentationml.slide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55.xml" ContentType="application/vnd.openxmlformats-officedocument.presentationml.slideLayout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80.xml" ContentType="application/vnd.openxmlformats-officedocument.presentationml.slideLayout+xml"/>
  <Override PartName="/ppt/theme/theme15.xml" ContentType="application/vnd.openxmlformats-officedocument.theme+xml"/>
  <Override PartName="/ppt/slideLayouts/slideLayout29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tags/tag13.xml" ContentType="application/vnd.openxmlformats-officedocument.presentationml.tags+xml"/>
  <Override PartName="/ppt/slideMasters/slideMaster5.xml" ContentType="application/vnd.openxmlformats-officedocument.presentationml.slideMaster+xml"/>
  <Override PartName="/ppt/slideLayouts/slideLayout59.xml" ContentType="application/vnd.openxmlformats-officedocument.presentationml.slideLayout+xml"/>
  <Override PartName="/ppt/theme/theme7.xml" ContentType="application/vnd.openxmlformats-officedocument.theme+xml"/>
  <Override PartName="/ppt/slideLayouts/slideLayout159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309.xml" ContentType="application/vnd.openxmlformats-officedocument.presentationml.slideLayout+xml"/>
  <Override PartName="/ppt/notesSlides/notesSlide4.xml" ContentType="application/vnd.openxmlformats-officedocument.presentationml.notesSlide+xml"/>
  <Override PartName="/ppt/slideLayouts/slideLayout48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tags/tag2.xml" ContentType="application/vnd.openxmlformats-officedocument.presentationml.tags+xml"/>
  <Override PartName="/ppt/notesSlides/notesSlide18.xml" ContentType="application/vnd.openxmlformats-officedocument.presentationml.notesSlide+xml"/>
  <Override PartName="/ppt/slideLayouts/slideLayout51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Masters/slideMaster13.xml" ContentType="application/vnd.openxmlformats-officedocument.presentationml.slideMaster+xml"/>
  <Override PartName="/ppt/slideLayouts/slideLayout20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notesSlides/notesSlide9.xml" ContentType="application/vnd.openxmlformats-officedocument.presentationml.notesSlide+xml"/>
  <Override PartName="/ppt/slideLayouts/slideLayout89.xml" ContentType="application/vnd.openxmlformats-officedocument.presentationml.slideLayout+xml"/>
  <Override PartName="/ppt/slideLayouts/slideLayout189.xml" ContentType="application/vnd.openxmlformats-officedocument.presentationml.slideLayout+xml"/>
  <Override PartName="/ppt/theme/theme12.xml" ContentType="application/vnd.openxmlformats-officedocument.theme+xml"/>
  <Override PartName="/ppt/slideLayouts/slideLayout241.xml" ContentType="application/vnd.openxmlformats-officedocument.presentationml.slideLayout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317.xml" ContentType="application/vnd.openxmlformats-officedocument.presentationml.slideLayout+xml"/>
  <Override PartName="/ppt/tags/tag10.xml" ContentType="application/vnd.openxmlformats-officedocument.presentationml.tags+xml"/>
  <Override PartName="/ppt/slideMasters/slideMaster2.xml" ContentType="application/vnd.openxmlformats-officedocument.presentationml.slideMaster+xml"/>
  <Override PartName="/ppt/slideLayouts/slideLayout67.xml" ContentType="application/vnd.openxmlformats-officedocument.presentationml.slideLayout+xml"/>
  <Override PartName="/ppt/theme/theme4.xml" ContentType="application/vnd.openxmlformats-officedocument.theme+xml"/>
  <Override PartName="/ppt/slideLayouts/slideLayout109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306.xml" ContentType="application/vnd.openxmlformats-officedocument.presentationml.slideLayout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257.xml" ContentType="application/vnd.openxmlformats-officedocument.presentationml.slideLayout+xml"/>
  <Override PartName="/ppt/notesSlides/notesSlide15.xml" ContentType="application/vnd.openxmlformats-officedocument.presentationml.notesSlide+xml"/>
  <Override PartName="/ppt/slideLayouts/slideLayout12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93.xml" ContentType="application/vnd.openxmlformats-officedocument.presentationml.slideLayout+xml"/>
  <Override PartName="/ppt/theme/theme17.xml" ContentType="application/vnd.openxmlformats-officedocument.theme+xml"/>
  <Override PartName="/ppt/slideLayouts/slideLayout224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tags/tag15.xml" ContentType="application/vnd.openxmlformats-officedocument.presentationml.tags+xml"/>
  <Override PartName="/ppt/slideMasters/slideMaster7.xml" ContentType="application/vnd.openxmlformats-officedocument.presentationml.slideMaster+xml"/>
  <Override PartName="/ppt/slideMasters/slideMaster10.xml" ContentType="application/vnd.openxmlformats-officedocument.presentationml.slideMaster+xml"/>
  <Override PartName="/ppt/theme/theme9.xml" ContentType="application/vnd.openxmlformats-officedocument.theme+xml"/>
  <Override PartName="/ppt/slideLayouts/slideLayout213.xml" ContentType="application/vnd.openxmlformats-officedocument.presentationml.slideLayout+xml"/>
  <Override PartName="/ppt/slideLayouts/slideLayout260.xml" ContentType="application/vnd.openxmlformats-officedocument.presentationml.slideLayout+xml"/>
  <Override PartName="/ppt/notesSlides/notesSlide6.xml" ContentType="application/vnd.openxmlformats-officedocument.presentationml.notesSlide+xml"/>
  <Override PartName="/ppt/slideLayouts/slideLayout97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Masters/slideMaster15.xml" ContentType="application/vnd.openxmlformats-officedocument.presentationml.slideMaster+xml"/>
  <Override PartName="/ppt/slides/slide10.xml" ContentType="application/vnd.openxmlformats-officedocument.presentationml.slide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43.xml" ContentType="application/vnd.openxmlformats-officedocument.presentationml.slideLayout+xml"/>
  <Override PartName="/ppt/theme/theme14.xml" ContentType="application/vnd.openxmlformats-officedocument.theme+xml"/>
  <Override PartName="/ppt/slideLayouts/slideLayout290.xml" ContentType="application/vnd.openxmlformats-officedocument.presentationml.slideLayout+xml"/>
  <Override PartName="/ppt/notesSlides/notesSlide12.xml" ContentType="application/vnd.openxmlformats-officedocument.presentationml.notesSlide+xml"/>
  <Override PartName="/ppt/slideLayouts/slideLayout232.xml" ContentType="application/vnd.openxmlformats-officedocument.presentationml.slideLayout+xml"/>
  <Override PartName="/ppt/slideLayouts/slideLayout319.xml" ContentType="application/vnd.openxmlformats-officedocument.presentationml.slideLayout+xml"/>
  <Override PartName="/ppt/tags/tag12.xml" ContentType="application/vnd.openxmlformats-officedocument.presentationml.tags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69.xml" ContentType="application/vnd.openxmlformats-officedocument.presentationml.slideLayout+xml"/>
  <Override PartName="/ppt/theme/theme6.xml" ContentType="application/vnd.openxmlformats-officedocument.theme+xml"/>
  <Override PartName="/ppt/slideLayouts/slideLayout15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308.xml" ContentType="application/vnd.openxmlformats-officedocument.presentationml.slideLayout+xml"/>
  <Override PartName="/ppt/tags/tag9.xml" ContentType="application/vnd.openxmlformats-officedocument.presentationml.tags+xml"/>
  <Default Extension="bin" ContentType="application/vnd.openxmlformats-officedocument.oleObject"/>
  <Override PartName="/ppt/slideLayouts/slideLayout58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94.xml" ContentType="application/vnd.openxmlformats-officedocument.presentationml.slideLayout+xml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311.xml" ContentType="application/vnd.openxmlformats-officedocument.presentationml.slideLayout+xml"/>
  <Override PartName="/ppt/notesSlides/notesSlide17.xml" ContentType="application/vnd.openxmlformats-officedocument.presentationml.notesSlide+xml"/>
  <Override PartName="/ppt/slideLayouts/slideLayout14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300.xml" ContentType="application/vnd.openxmlformats-officedocument.presentationml.slideLayout+xml"/>
  <Override PartName="/ppt/tags/tag1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84.xml" ContentType="application/vnd.openxmlformats-officedocument.presentationml.slideLayout+xml"/>
  <Default Extension="wdp" ContentType="image/vnd.ms-photo"/>
  <Override PartName="/ppt/slideMasters/slideMaster9.xml" ContentType="application/vnd.openxmlformats-officedocument.presentationml.slideMaster+xml"/>
  <Override PartName="/ppt/slideMasters/slideMaster12.xml" ContentType="application/vnd.openxmlformats-officedocument.presentationml.slideMaster+xml"/>
  <Default Extension="vml" ContentType="application/vnd.openxmlformats-officedocument.vmlDrawing"/>
  <Override PartName="/ppt/slideLayouts/slideLayout215.xml" ContentType="application/vnd.openxmlformats-officedocument.presentationml.slideLayout+xml"/>
  <Override PartName="/ppt/slideLayouts/slideLayout262.xml" ContentType="application/vnd.openxmlformats-officedocument.presentationml.slideLayout+xml"/>
  <Override PartName="/ppt/notesSlides/notesSlide8.xml" ContentType="application/vnd.openxmlformats-officedocument.presentationml.notesSlide+xml"/>
  <Override PartName="/ppt/slideLayouts/slideLayout99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177.xml" ContentType="application/vnd.openxmlformats-officedocument.presentationml.slideLayout+xml"/>
  <Override PartName="/ppt/theme/theme11.xml" ContentType="application/vnd.openxmlformats-officedocument.theme+xml"/>
  <Override PartName="/ppt/slideLayouts/slideLayout240.xml" ContentType="application/vnd.openxmlformats-officedocument.presentationml.slideLayout+xml"/>
  <Override PartName="/ppt/slideLayouts/slideLayout327.xml" ContentType="application/vnd.openxmlformats-officedocument.presentationml.slideLayout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316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55.xml" ContentType="application/vnd.openxmlformats-officedocument.presentationml.slideLayout+xml"/>
  <Override PartName="/ppt/theme/theme3.xml" ContentType="application/vnd.openxmlformats-officedocument.theme+xml"/>
  <Override PartName="/ppt/slideLayouts/slideLayout108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278.xml" ContentType="application/vnd.openxmlformats-officedocument.presentationml.slideLayout+xml"/>
  <Default Extension="rels" ContentType="application/vnd.openxmlformats-package.relationships+xml"/>
  <Override PartName="/ppt/slideMasters/slideMaster17.xml" ContentType="application/vnd.openxmlformats-officedocument.presentationml.slideMaster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92.xml" ContentType="application/vnd.openxmlformats-officedocument.presentationml.slideLayout+xml"/>
  <Override PartName="/ppt/theme/theme16.xml" ContentType="application/vnd.openxmlformats-officedocument.theme+xml"/>
  <Override PartName="/ppt/notesSlides/notesSlide14.xml" ContentType="application/vnd.openxmlformats-officedocument.presentationml.notesSlide+xml"/>
  <Override PartName="/ppt/slideLayouts/slideLayout100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81.xml" ContentType="application/vnd.openxmlformats-officedocument.presentationml.slideLayout+xml"/>
  <Override PartName="/ppt/tags/tag14.xml" ContentType="application/vnd.openxmlformats-officedocument.presentationml.tags+xml"/>
  <Override PartName="/ppt/slideMasters/slideMaster6.xml" ContentType="application/vnd.openxmlformats-officedocument.presentationml.slideMaster+xml"/>
  <Override PartName="/ppt/theme/theme8.xml" ContentType="application/vnd.openxmlformats-officedocument.theme+xml"/>
  <Override PartName="/ppt/slideLayouts/slideLayout223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notesSlides/notesSlide5.xml" ContentType="application/vnd.openxmlformats-officedocument.presentationml.notesSlide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302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Masters/slideMaster14.xml" ContentType="application/vnd.openxmlformats-officedocument.presentationml.slideMaster+xml"/>
  <Override PartName="/ppt/slideLayouts/slideLayout30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53.xml" ContentType="application/vnd.openxmlformats-officedocument.presentationml.slideLayout+xml"/>
  <Override PartName="/ppt/notesSlides/notesSlide11.xml" ContentType="application/vnd.openxmlformats-officedocument.presentationml.notesSlide+xml"/>
  <Override PartName="/ppt/slideLayouts/slideLayout179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theme/theme13.xml" ContentType="application/vnd.openxmlformats-officedocument.theme+xml"/>
  <Override PartName="/ppt/slides/slide8.xml" ContentType="application/vnd.openxmlformats-officedocument.presentationml.slide+xml"/>
  <Override PartName="/ppt/slideLayouts/slideLayout6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318.xml" ContentType="application/vnd.openxmlformats-officedocument.presentationml.slideLayout+xml"/>
  <Override PartName="/ppt/tags/tag11.xml" ContentType="application/vnd.openxmlformats-officedocument.presentationml.tags+xml"/>
  <Override PartName="/ppt/slideMasters/slideMaster3.xml" ContentType="application/vnd.openxmlformats-officedocument.presentationml.slideMaster+xml"/>
  <Override PartName="/ppt/slideLayouts/slideLayout57.xml" ContentType="application/vnd.openxmlformats-officedocument.presentationml.slideLayout+xml"/>
  <Override PartName="/ppt/slideLayouts/slideLayout157.xml" ContentType="application/vnd.openxmlformats-officedocument.presentationml.slideLayout+xml"/>
  <Override PartName="/ppt/notesSlides/notesSlide2.xml" ContentType="application/vnd.openxmlformats-officedocument.presentationml.notesSlide+xml"/>
  <Override PartName="/ppt/slideLayouts/slideLayout135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18.xml" ContentType="application/vnd.openxmlformats-officedocument.theme+xml"/>
  <Override PartName="/ppt/tableStyles.xml" ContentType="application/vnd.openxmlformats-officedocument.presentationml.tableStyles+xml"/>
  <Override PartName="/ppt/slideLayouts/slideLayout236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98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7" r:id="rId2"/>
    <p:sldMasterId id="2147483740" r:id="rId3"/>
    <p:sldMasterId id="2147483761" r:id="rId4"/>
    <p:sldMasterId id="2147483794" r:id="rId5"/>
    <p:sldMasterId id="2147483836" r:id="rId6"/>
    <p:sldMasterId id="2147483857" r:id="rId7"/>
    <p:sldMasterId id="2147483890" r:id="rId8"/>
    <p:sldMasterId id="2147483911" r:id="rId9"/>
    <p:sldMasterId id="2147483932" r:id="rId10"/>
    <p:sldMasterId id="2147483953" r:id="rId11"/>
    <p:sldMasterId id="2147483974" r:id="rId12"/>
    <p:sldMasterId id="2147483995" r:id="rId13"/>
    <p:sldMasterId id="2147484016" r:id="rId14"/>
    <p:sldMasterId id="2147484049" r:id="rId15"/>
    <p:sldMasterId id="2147484082" r:id="rId16"/>
    <p:sldMasterId id="2147484103" r:id="rId17"/>
  </p:sldMasterIdLst>
  <p:notesMasterIdLst>
    <p:notesMasterId r:id="rId36"/>
  </p:notesMasterIdLst>
  <p:sldIdLst>
    <p:sldId id="257" r:id="rId18"/>
    <p:sldId id="258" r:id="rId19"/>
    <p:sldId id="261" r:id="rId20"/>
    <p:sldId id="262" r:id="rId21"/>
    <p:sldId id="289" r:id="rId22"/>
    <p:sldId id="279" r:id="rId23"/>
    <p:sldId id="264" r:id="rId24"/>
    <p:sldId id="267" r:id="rId25"/>
    <p:sldId id="276" r:id="rId26"/>
    <p:sldId id="277" r:id="rId27"/>
    <p:sldId id="278" r:id="rId28"/>
    <p:sldId id="280" r:id="rId29"/>
    <p:sldId id="281" r:id="rId30"/>
    <p:sldId id="266" r:id="rId31"/>
    <p:sldId id="287" r:id="rId32"/>
    <p:sldId id="290" r:id="rId33"/>
    <p:sldId id="288" r:id="rId34"/>
    <p:sldId id="282" r:id="rId35"/>
  </p:sldIdLst>
  <p:sldSz cx="9144000" cy="6858000" type="screen4x3"/>
  <p:notesSz cx="6858000" cy="9144000"/>
  <p:defaultTextStyle>
    <a:defPPr>
      <a:defRPr lang="es-C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96969"/>
    <a:srgbClr val="FF3700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307" autoAdjust="0"/>
    <p:restoredTop sz="94660"/>
  </p:normalViewPr>
  <p:slideViewPr>
    <p:cSldViewPr>
      <p:cViewPr>
        <p:scale>
          <a:sx n="90" d="100"/>
          <a:sy n="90" d="100"/>
        </p:scale>
        <p:origin x="-1044" y="-14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1.xml"/><Relationship Id="rId26" Type="http://schemas.openxmlformats.org/officeDocument/2006/relationships/slide" Target="slides/slide9.xml"/><Relationship Id="rId39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4.xml"/><Relationship Id="rId34" Type="http://schemas.openxmlformats.org/officeDocument/2006/relationships/slide" Target="slides/slide17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8.xml"/><Relationship Id="rId33" Type="http://schemas.openxmlformats.org/officeDocument/2006/relationships/slide" Target="slides/slide16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3.xml"/><Relationship Id="rId29" Type="http://schemas.openxmlformats.org/officeDocument/2006/relationships/slide" Target="slides/slide1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7.xml"/><Relationship Id="rId32" Type="http://schemas.openxmlformats.org/officeDocument/2006/relationships/slide" Target="slides/slide15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6.xml"/><Relationship Id="rId28" Type="http://schemas.openxmlformats.org/officeDocument/2006/relationships/slide" Target="slides/slide11.xml"/><Relationship Id="rId36" Type="http://schemas.openxmlformats.org/officeDocument/2006/relationships/notesMaster" Target="notesMasters/notesMaster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2.xml"/><Relationship Id="rId31" Type="http://schemas.openxmlformats.org/officeDocument/2006/relationships/slide" Target="slides/slide14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5.xml"/><Relationship Id="rId27" Type="http://schemas.openxmlformats.org/officeDocument/2006/relationships/slide" Target="slides/slide10.xml"/><Relationship Id="rId30" Type="http://schemas.openxmlformats.org/officeDocument/2006/relationships/slide" Target="slides/slide13.xml"/><Relationship Id="rId35" Type="http://schemas.openxmlformats.org/officeDocument/2006/relationships/slide" Target="slides/slide1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R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2CCE86-3FC2-42F7-AE59-04909F025E70}" type="datetimeFigureOut">
              <a:rPr lang="es-CR" smtClean="0"/>
              <a:pPr/>
              <a:t>31/01/2017</a:t>
            </a:fld>
            <a:endParaRPr lang="es-CR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R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R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R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1580563-0EA9-43C4-A6D4-A0EFDE13B71A}" type="slidenum">
              <a:rPr lang="es-CR" smtClean="0"/>
              <a:pPr/>
              <a:t>‹#›</a:t>
            </a:fld>
            <a:endParaRPr lang="es-CR"/>
          </a:p>
        </p:txBody>
      </p:sp>
    </p:spTree>
    <p:extLst>
      <p:ext uri="{BB962C8B-B14F-4D97-AF65-F5344CB8AC3E}">
        <p14:creationId xmlns="" xmlns:p14="http://schemas.microsoft.com/office/powerpoint/2010/main" val="13905562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7"/>
          <p:cNvSpPr txBox="1">
            <a:spLocks noGrp="1" noChangeArrowheads="1"/>
          </p:cNvSpPr>
          <p:nvPr/>
        </p:nvSpPr>
        <p:spPr bwMode="auto">
          <a:xfrm>
            <a:off x="3884482" y="8685885"/>
            <a:ext cx="2973537" cy="4581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901" tIns="45453" rIns="90901" bIns="45453" anchor="b"/>
          <a:lstStyle/>
          <a:p>
            <a:pPr algn="r" defTabSz="934615" eaLnBrk="0" fontAlgn="base" hangingPunct="0">
              <a:spcBef>
                <a:spcPct val="0"/>
              </a:spcBef>
              <a:spcAft>
                <a:spcPct val="0"/>
              </a:spcAft>
            </a:pPr>
            <a:fld id="{D099F9C2-76C5-4ED5-B1E0-7544A8AFDF08}" type="slidenum">
              <a:rPr lang="en-GB" sz="1400">
                <a:solidFill>
                  <a:prstClr val="black"/>
                </a:solidFill>
                <a:latin typeface="Arial" charset="0"/>
                <a:ea typeface="MS PGothic" pitchFamily="34" charset="-128"/>
                <a:cs typeface="Arial" charset="0"/>
              </a:rPr>
              <a:pPr algn="r" defTabSz="934615" eaLnBrk="0" fontAlgn="base" hangingPunct="0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GB" sz="1400" dirty="0">
              <a:solidFill>
                <a:prstClr val="black"/>
              </a:solidFill>
              <a:latin typeface="Arial" charset="0"/>
              <a:ea typeface="MS PGothic" pitchFamily="34" charset="-128"/>
              <a:cs typeface="Arial" charset="0"/>
            </a:endParaRPr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7388"/>
            <a:ext cx="4568825" cy="3427412"/>
          </a:xfrm>
          <a:ln/>
        </p:spPr>
      </p:sp>
      <p:sp>
        <p:nvSpPr>
          <p:cNvPr id="27652" name="Notes Placeholder 5"/>
          <p:cNvSpPr>
            <a:spLocks noGrp="1"/>
          </p:cNvSpPr>
          <p:nvPr/>
        </p:nvSpPr>
        <p:spPr bwMode="auto">
          <a:xfrm>
            <a:off x="913992" y="4342955"/>
            <a:ext cx="5030018" cy="4113168"/>
          </a:xfrm>
          <a:prstGeom prst="rect">
            <a:avLst/>
          </a:prstGeom>
        </p:spPr>
        <p:txBody>
          <a:bodyPr lIns="91592" tIns="45796" rIns="91592" bIns="45796"/>
          <a:lstStyle/>
          <a:p>
            <a:pPr eaLnBrk="0" fontAlgn="base" hangingPunct="0">
              <a:spcBef>
                <a:spcPct val="30000"/>
              </a:spcBef>
              <a:spcAft>
                <a:spcPct val="0"/>
              </a:spcAft>
            </a:pPr>
            <a:endParaRPr lang="en-US" sz="1400" dirty="0">
              <a:solidFill>
                <a:prstClr val="black"/>
              </a:solidFill>
              <a:latin typeface="Arial" charset="0"/>
              <a:ea typeface="MS PGothic" pitchFamily="34" charset="-128"/>
              <a:cs typeface="Arial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913992" y="4571296"/>
            <a:ext cx="4928803" cy="705000"/>
          </a:xfrm>
          <a:prstGeom prst="rect">
            <a:avLst/>
          </a:prstGeom>
        </p:spPr>
        <p:txBody>
          <a:bodyPr wrap="square" lIns="88575" tIns="44291" rIns="88575" bIns="44291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800" kern="0" dirty="0">
              <a:solidFill>
                <a:srgbClr val="FF0000"/>
              </a:solidFill>
              <a:latin typeface="Arial" charset="0"/>
              <a:ea typeface="MS PGothic" pitchFamily="34" charset="-128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600" dirty="0">
              <a:solidFill>
                <a:srgbClr val="FF0000"/>
              </a:solidFill>
              <a:latin typeface="Arial" charset="0"/>
              <a:ea typeface="MS PGothic" pitchFamily="34" charset="-128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600" dirty="0">
              <a:solidFill>
                <a:srgbClr val="1F497D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7" name="Rectangle 3"/>
          <p:cNvSpPr>
            <a:spLocks noGrp="1" noChangeArrowheads="1"/>
          </p:cNvSpPr>
          <p:nvPr>
            <p:ph type="body" idx="3"/>
          </p:nvPr>
        </p:nvSpPr>
        <p:spPr>
          <a:xfrm>
            <a:off x="915538" y="4345794"/>
            <a:ext cx="5026950" cy="4110331"/>
          </a:xfrm>
          <a:noFill/>
          <a:ln/>
        </p:spPr>
        <p:txBody>
          <a:bodyPr lIns="86966" tIns="43486" rIns="86966" bIns="43486"/>
          <a:lstStyle/>
          <a:p>
            <a:r>
              <a:rPr lang="en-US" sz="800" dirty="0"/>
              <a:t> </a:t>
            </a:r>
            <a:endParaRPr lang="en-GB" sz="800" dirty="0"/>
          </a:p>
          <a:p>
            <a:endParaRPr lang="en-GB" altLang="en-US" sz="800" dirty="0"/>
          </a:p>
          <a:p>
            <a:endParaRPr lang="en-GB" altLang="en-US" sz="800" dirty="0"/>
          </a:p>
          <a:p>
            <a:endParaRPr lang="en-US" altLang="en-US" sz="800" b="1" dirty="0"/>
          </a:p>
        </p:txBody>
      </p:sp>
    </p:spTree>
    <p:extLst>
      <p:ext uri="{BB962C8B-B14F-4D97-AF65-F5344CB8AC3E}">
        <p14:creationId xmlns="" xmlns:p14="http://schemas.microsoft.com/office/powerpoint/2010/main" val="193619821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7"/>
          <p:cNvSpPr txBox="1">
            <a:spLocks noGrp="1" noChangeArrowheads="1"/>
          </p:cNvSpPr>
          <p:nvPr/>
        </p:nvSpPr>
        <p:spPr bwMode="auto">
          <a:xfrm>
            <a:off x="3886007" y="8685896"/>
            <a:ext cx="2972004" cy="4581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8266" tIns="44134" rIns="88266" bIns="44134" anchor="b"/>
          <a:lstStyle/>
          <a:p>
            <a:pPr algn="r" defTabSz="851132" eaLnBrk="0" fontAlgn="base" hangingPunct="0">
              <a:spcBef>
                <a:spcPct val="0"/>
              </a:spcBef>
              <a:spcAft>
                <a:spcPct val="0"/>
              </a:spcAft>
            </a:pPr>
            <a:fld id="{1CFFB999-C43D-43AB-8AE3-51E5A93F9B62}" type="slidenum">
              <a:rPr lang="en-GB" altLang="en-US" sz="1200">
                <a:solidFill>
                  <a:prstClr val="black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pPr algn="r" defTabSz="851132" eaLnBrk="0" fontAlgn="base" hangingPunct="0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en-GB" altLang="en-US" sz="1200" dirty="0">
              <a:solidFill>
                <a:prstClr val="black"/>
              </a:solidFill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460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7388"/>
            <a:ext cx="4572000" cy="3429000"/>
          </a:xfrm>
          <a:ln/>
        </p:spPr>
      </p:sp>
      <p:sp>
        <p:nvSpPr>
          <p:cNvPr id="4608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2483" y="4344369"/>
            <a:ext cx="5033083" cy="4114587"/>
          </a:xfrm>
          <a:noFill/>
          <a:ln/>
        </p:spPr>
        <p:txBody>
          <a:bodyPr lIns="88266" tIns="44134" rIns="88266" bIns="44134"/>
          <a:lstStyle/>
          <a:p>
            <a:pPr eaLnBrk="1" hangingPunct="1"/>
            <a:endParaRPr lang="en-GB" altLang="en-US" dirty="0" smtClean="0"/>
          </a:p>
        </p:txBody>
      </p:sp>
      <p:sp>
        <p:nvSpPr>
          <p:cNvPr id="46085" name="Date Placeholder 1"/>
          <p:cNvSpPr>
            <a:spLocks noGrp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pPr defTabSz="882183"/>
            <a:endParaRPr lang="en-US" alt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69868077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7"/>
          <p:cNvSpPr txBox="1">
            <a:spLocks noGrp="1" noChangeArrowheads="1"/>
          </p:cNvSpPr>
          <p:nvPr/>
        </p:nvSpPr>
        <p:spPr bwMode="auto">
          <a:xfrm>
            <a:off x="3886007" y="8685896"/>
            <a:ext cx="2972004" cy="4581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8266" tIns="44134" rIns="88266" bIns="44134" anchor="b"/>
          <a:lstStyle/>
          <a:p>
            <a:pPr algn="r" defTabSz="851132" eaLnBrk="0" fontAlgn="base" hangingPunct="0">
              <a:spcBef>
                <a:spcPct val="0"/>
              </a:spcBef>
              <a:spcAft>
                <a:spcPct val="0"/>
              </a:spcAft>
            </a:pPr>
            <a:fld id="{1CFFB999-C43D-43AB-8AE3-51E5A93F9B62}" type="slidenum">
              <a:rPr lang="en-GB" altLang="en-US" sz="1200">
                <a:solidFill>
                  <a:prstClr val="black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pPr algn="r" defTabSz="851132" eaLnBrk="0" fontAlgn="base" hangingPunct="0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lang="en-GB" altLang="en-US" sz="1200" dirty="0">
              <a:solidFill>
                <a:prstClr val="black"/>
              </a:solidFill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460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7388"/>
            <a:ext cx="4572000" cy="3429000"/>
          </a:xfrm>
          <a:ln/>
        </p:spPr>
      </p:sp>
      <p:sp>
        <p:nvSpPr>
          <p:cNvPr id="4608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2483" y="4344369"/>
            <a:ext cx="5033083" cy="4114587"/>
          </a:xfrm>
          <a:noFill/>
          <a:ln/>
        </p:spPr>
        <p:txBody>
          <a:bodyPr lIns="88266" tIns="44134" rIns="88266" bIns="44134"/>
          <a:lstStyle/>
          <a:p>
            <a:pPr eaLnBrk="1" hangingPunct="1"/>
            <a:endParaRPr lang="en-GB" altLang="en-US" dirty="0" smtClean="0"/>
          </a:p>
        </p:txBody>
      </p:sp>
      <p:sp>
        <p:nvSpPr>
          <p:cNvPr id="46085" name="Date Placeholder 1"/>
          <p:cNvSpPr>
            <a:spLocks noGrp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pPr defTabSz="882183"/>
            <a:endParaRPr lang="en-US" alt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69868077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7"/>
          <p:cNvSpPr txBox="1">
            <a:spLocks noGrp="1" noChangeArrowheads="1"/>
          </p:cNvSpPr>
          <p:nvPr/>
        </p:nvSpPr>
        <p:spPr bwMode="auto">
          <a:xfrm>
            <a:off x="3886007" y="8685896"/>
            <a:ext cx="2972004" cy="4581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8266" tIns="44134" rIns="88266" bIns="44134" anchor="b"/>
          <a:lstStyle/>
          <a:p>
            <a:pPr algn="r" defTabSz="851132" eaLnBrk="0" fontAlgn="base" hangingPunct="0">
              <a:spcBef>
                <a:spcPct val="0"/>
              </a:spcBef>
              <a:spcAft>
                <a:spcPct val="0"/>
              </a:spcAft>
            </a:pPr>
            <a:fld id="{1CFFB999-C43D-43AB-8AE3-51E5A93F9B62}" type="slidenum">
              <a:rPr lang="en-GB" altLang="en-US" sz="1200">
                <a:solidFill>
                  <a:prstClr val="black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pPr algn="r" defTabSz="851132" eaLnBrk="0" fontAlgn="base" hangingPunct="0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en-GB" altLang="en-US" sz="1200" dirty="0">
              <a:solidFill>
                <a:prstClr val="black"/>
              </a:solidFill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460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7388"/>
            <a:ext cx="4572000" cy="3429000"/>
          </a:xfrm>
          <a:ln/>
        </p:spPr>
      </p:sp>
      <p:sp>
        <p:nvSpPr>
          <p:cNvPr id="4608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2483" y="4344369"/>
            <a:ext cx="5033083" cy="4114587"/>
          </a:xfrm>
          <a:noFill/>
          <a:ln/>
        </p:spPr>
        <p:txBody>
          <a:bodyPr lIns="88266" tIns="44134" rIns="88266" bIns="44134"/>
          <a:lstStyle/>
          <a:p>
            <a:pPr eaLnBrk="1" hangingPunct="1"/>
            <a:endParaRPr lang="en-GB" altLang="en-US" dirty="0" smtClean="0"/>
          </a:p>
        </p:txBody>
      </p:sp>
      <p:sp>
        <p:nvSpPr>
          <p:cNvPr id="46085" name="Date Placeholder 1"/>
          <p:cNvSpPr>
            <a:spLocks noGrp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pPr defTabSz="882183"/>
            <a:endParaRPr lang="en-US" alt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69868077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7"/>
          <p:cNvSpPr txBox="1">
            <a:spLocks noGrp="1" noChangeArrowheads="1"/>
          </p:cNvSpPr>
          <p:nvPr/>
        </p:nvSpPr>
        <p:spPr bwMode="auto">
          <a:xfrm>
            <a:off x="3886007" y="8685896"/>
            <a:ext cx="2972004" cy="4581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8266" tIns="44134" rIns="88266" bIns="44134" anchor="b"/>
          <a:lstStyle/>
          <a:p>
            <a:pPr algn="r" defTabSz="851132" eaLnBrk="0" fontAlgn="base" hangingPunct="0">
              <a:spcBef>
                <a:spcPct val="0"/>
              </a:spcBef>
              <a:spcAft>
                <a:spcPct val="0"/>
              </a:spcAft>
            </a:pPr>
            <a:fld id="{1CFFB999-C43D-43AB-8AE3-51E5A93F9B62}" type="slidenum">
              <a:rPr lang="en-GB" altLang="en-US" sz="1200">
                <a:solidFill>
                  <a:prstClr val="black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pPr algn="r" defTabSz="851132" eaLnBrk="0" fontAlgn="base" hangingPunct="0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lang="en-GB" altLang="en-US" sz="1200" dirty="0">
              <a:solidFill>
                <a:prstClr val="black"/>
              </a:solidFill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460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7388"/>
            <a:ext cx="4572000" cy="3429000"/>
          </a:xfrm>
          <a:ln/>
        </p:spPr>
      </p:sp>
      <p:sp>
        <p:nvSpPr>
          <p:cNvPr id="4608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2483" y="4344369"/>
            <a:ext cx="5033083" cy="4114587"/>
          </a:xfrm>
          <a:noFill/>
          <a:ln/>
        </p:spPr>
        <p:txBody>
          <a:bodyPr lIns="88266" tIns="44134" rIns="88266" bIns="44134"/>
          <a:lstStyle/>
          <a:p>
            <a:pPr eaLnBrk="1" hangingPunct="1"/>
            <a:endParaRPr lang="en-GB" altLang="en-US" dirty="0" smtClean="0"/>
          </a:p>
        </p:txBody>
      </p:sp>
      <p:sp>
        <p:nvSpPr>
          <p:cNvPr id="46085" name="Date Placeholder 1"/>
          <p:cNvSpPr>
            <a:spLocks noGrp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pPr defTabSz="882183"/>
            <a:endParaRPr lang="en-US" alt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69868077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7"/>
          <p:cNvSpPr txBox="1">
            <a:spLocks noGrp="1" noChangeArrowheads="1"/>
          </p:cNvSpPr>
          <p:nvPr/>
        </p:nvSpPr>
        <p:spPr bwMode="auto">
          <a:xfrm>
            <a:off x="3886007" y="8685896"/>
            <a:ext cx="2972004" cy="4581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8266" tIns="44134" rIns="88266" bIns="44134" anchor="b"/>
          <a:lstStyle/>
          <a:p>
            <a:pPr algn="r" defTabSz="851132" eaLnBrk="0" fontAlgn="base" hangingPunct="0">
              <a:spcBef>
                <a:spcPct val="0"/>
              </a:spcBef>
              <a:spcAft>
                <a:spcPct val="0"/>
              </a:spcAft>
            </a:pPr>
            <a:fld id="{1CFFB999-C43D-43AB-8AE3-51E5A93F9B62}" type="slidenum">
              <a:rPr lang="en-GB" altLang="en-US" sz="1200">
                <a:solidFill>
                  <a:prstClr val="black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pPr algn="r" defTabSz="851132" eaLnBrk="0" fontAlgn="base" hangingPunct="0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en-GB" altLang="en-US" sz="1200" dirty="0">
              <a:solidFill>
                <a:prstClr val="black"/>
              </a:solidFill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460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7388"/>
            <a:ext cx="4572000" cy="3429000"/>
          </a:xfrm>
          <a:ln/>
        </p:spPr>
      </p:sp>
      <p:sp>
        <p:nvSpPr>
          <p:cNvPr id="4608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2483" y="4344369"/>
            <a:ext cx="5033083" cy="4114587"/>
          </a:xfrm>
          <a:noFill/>
          <a:ln/>
        </p:spPr>
        <p:txBody>
          <a:bodyPr lIns="88266" tIns="44134" rIns="88266" bIns="44134"/>
          <a:lstStyle/>
          <a:p>
            <a:pPr eaLnBrk="1" hangingPunct="1"/>
            <a:endParaRPr lang="en-GB" altLang="en-US" dirty="0" smtClean="0"/>
          </a:p>
        </p:txBody>
      </p:sp>
      <p:sp>
        <p:nvSpPr>
          <p:cNvPr id="46085" name="Date Placeholder 1"/>
          <p:cNvSpPr>
            <a:spLocks noGrp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pPr defTabSz="882183"/>
            <a:endParaRPr lang="en-US" alt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69868077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7"/>
          <p:cNvSpPr txBox="1">
            <a:spLocks noGrp="1" noChangeArrowheads="1"/>
          </p:cNvSpPr>
          <p:nvPr/>
        </p:nvSpPr>
        <p:spPr bwMode="auto">
          <a:xfrm>
            <a:off x="3886007" y="8685896"/>
            <a:ext cx="2972004" cy="4581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8266" tIns="44134" rIns="88266" bIns="44134" anchor="b"/>
          <a:lstStyle/>
          <a:p>
            <a:pPr algn="r" defTabSz="851132" eaLnBrk="0" fontAlgn="base" hangingPunct="0">
              <a:spcBef>
                <a:spcPct val="0"/>
              </a:spcBef>
              <a:spcAft>
                <a:spcPct val="0"/>
              </a:spcAft>
            </a:pPr>
            <a:fld id="{1CFFB999-C43D-43AB-8AE3-51E5A93F9B62}" type="slidenum">
              <a:rPr lang="en-GB" altLang="en-US" sz="1200">
                <a:solidFill>
                  <a:prstClr val="black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pPr algn="r" defTabSz="851132" eaLnBrk="0" fontAlgn="base" hangingPunct="0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en-GB" altLang="en-US" sz="1200" dirty="0">
              <a:solidFill>
                <a:prstClr val="black"/>
              </a:solidFill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460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7388"/>
            <a:ext cx="4572000" cy="3429000"/>
          </a:xfrm>
          <a:ln/>
        </p:spPr>
      </p:sp>
      <p:sp>
        <p:nvSpPr>
          <p:cNvPr id="4608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2483" y="4344369"/>
            <a:ext cx="5033083" cy="4114587"/>
          </a:xfrm>
          <a:noFill/>
          <a:ln/>
        </p:spPr>
        <p:txBody>
          <a:bodyPr lIns="88266" tIns="44134" rIns="88266" bIns="44134"/>
          <a:lstStyle/>
          <a:p>
            <a:pPr eaLnBrk="1" hangingPunct="1"/>
            <a:endParaRPr lang="en-GB" altLang="en-US" dirty="0" smtClean="0"/>
          </a:p>
        </p:txBody>
      </p:sp>
      <p:sp>
        <p:nvSpPr>
          <p:cNvPr id="46085" name="Date Placeholder 1"/>
          <p:cNvSpPr>
            <a:spLocks noGrp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pPr defTabSz="882183"/>
            <a:endParaRPr lang="en-US" alt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69868077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2 Marcador de notas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ES" altLang="es-CR" dirty="0" smtClean="0"/>
          </a:p>
        </p:txBody>
      </p:sp>
      <p:sp>
        <p:nvSpPr>
          <p:cNvPr id="5124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defRPr/>
            </a:pPr>
            <a:fld id="{2F6D8B5C-A14B-4864-877D-58101A6CDEF2}" type="slidenum">
              <a:rPr lang="es-MX" smtClean="0">
                <a:solidFill>
                  <a:prstClr val="black"/>
                </a:solidFill>
              </a:rPr>
              <a:pPr>
                <a:defRPr/>
              </a:pPr>
              <a:t>16</a:t>
            </a:fld>
            <a:endParaRPr lang="es-MX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2 Marcador de notas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ES" altLang="es-CR" smtClean="0"/>
          </a:p>
        </p:txBody>
      </p:sp>
      <p:sp>
        <p:nvSpPr>
          <p:cNvPr id="5124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defRPr/>
            </a:pPr>
            <a:fld id="{2F6D8B5C-A14B-4864-877D-58101A6CDEF2}" type="slidenum">
              <a:rPr lang="es-MX" smtClean="0">
                <a:solidFill>
                  <a:prstClr val="black"/>
                </a:solidFill>
              </a:rPr>
              <a:pPr>
                <a:defRPr/>
              </a:pPr>
              <a:t>17</a:t>
            </a:fld>
            <a:endParaRPr lang="es-MX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7"/>
          <p:cNvSpPr txBox="1">
            <a:spLocks noGrp="1" noChangeArrowheads="1"/>
          </p:cNvSpPr>
          <p:nvPr/>
        </p:nvSpPr>
        <p:spPr bwMode="auto">
          <a:xfrm>
            <a:off x="3886007" y="8685896"/>
            <a:ext cx="2972004" cy="4581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8266" tIns="44134" rIns="88266" bIns="44134" anchor="b"/>
          <a:lstStyle/>
          <a:p>
            <a:pPr algn="r" defTabSz="851132" eaLnBrk="0" fontAlgn="base" hangingPunct="0">
              <a:spcBef>
                <a:spcPct val="0"/>
              </a:spcBef>
              <a:spcAft>
                <a:spcPct val="0"/>
              </a:spcAft>
            </a:pPr>
            <a:fld id="{1CFFB999-C43D-43AB-8AE3-51E5A93F9B62}" type="slidenum">
              <a:rPr lang="en-GB" altLang="en-US" sz="1200">
                <a:solidFill>
                  <a:prstClr val="black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pPr algn="r" defTabSz="851132" eaLnBrk="0" fontAlgn="base" hangingPunct="0"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lang="en-GB" altLang="en-US" sz="1200" dirty="0">
              <a:solidFill>
                <a:prstClr val="black"/>
              </a:solidFill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460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7388"/>
            <a:ext cx="4572000" cy="3429000"/>
          </a:xfrm>
          <a:ln/>
        </p:spPr>
      </p:sp>
      <p:sp>
        <p:nvSpPr>
          <p:cNvPr id="4608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2483" y="4344369"/>
            <a:ext cx="5033083" cy="4114587"/>
          </a:xfrm>
          <a:noFill/>
          <a:ln/>
        </p:spPr>
        <p:txBody>
          <a:bodyPr lIns="88266" tIns="44134" rIns="88266" bIns="44134"/>
          <a:lstStyle/>
          <a:p>
            <a:pPr eaLnBrk="1" hangingPunct="1"/>
            <a:endParaRPr lang="en-GB" altLang="en-US" dirty="0" smtClean="0"/>
          </a:p>
        </p:txBody>
      </p:sp>
      <p:sp>
        <p:nvSpPr>
          <p:cNvPr id="46085" name="Date Placeholder 1"/>
          <p:cNvSpPr>
            <a:spLocks noGrp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pPr defTabSz="882183"/>
            <a:endParaRPr lang="en-US" alt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6986807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7"/>
          <p:cNvSpPr txBox="1">
            <a:spLocks noGrp="1" noChangeArrowheads="1"/>
          </p:cNvSpPr>
          <p:nvPr/>
        </p:nvSpPr>
        <p:spPr bwMode="auto">
          <a:xfrm>
            <a:off x="3886007" y="8685896"/>
            <a:ext cx="2972004" cy="4581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8266" tIns="44134" rIns="88266" bIns="44134" anchor="b"/>
          <a:lstStyle/>
          <a:p>
            <a:pPr algn="r" defTabSz="851132" eaLnBrk="0" fontAlgn="base" hangingPunct="0">
              <a:spcBef>
                <a:spcPct val="0"/>
              </a:spcBef>
              <a:spcAft>
                <a:spcPct val="0"/>
              </a:spcAft>
            </a:pPr>
            <a:fld id="{1CFFB999-C43D-43AB-8AE3-51E5A93F9B62}" type="slidenum">
              <a:rPr lang="en-GB" altLang="en-US" sz="1200">
                <a:solidFill>
                  <a:prstClr val="black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pPr algn="r" defTabSz="851132" eaLnBrk="0" fontAlgn="base" hangingPunct="0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GB" altLang="en-US" sz="1200" dirty="0">
              <a:solidFill>
                <a:prstClr val="black"/>
              </a:solidFill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460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7388"/>
            <a:ext cx="4572000" cy="3429000"/>
          </a:xfrm>
          <a:ln/>
        </p:spPr>
      </p:sp>
      <p:sp>
        <p:nvSpPr>
          <p:cNvPr id="4608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2483" y="4344369"/>
            <a:ext cx="5033083" cy="4114587"/>
          </a:xfrm>
          <a:noFill/>
          <a:ln/>
        </p:spPr>
        <p:txBody>
          <a:bodyPr lIns="88266" tIns="44134" rIns="88266" bIns="44134"/>
          <a:lstStyle/>
          <a:p>
            <a:pPr eaLnBrk="1" hangingPunct="1"/>
            <a:endParaRPr lang="en-GB" altLang="en-US" dirty="0" smtClean="0"/>
          </a:p>
        </p:txBody>
      </p:sp>
      <p:sp>
        <p:nvSpPr>
          <p:cNvPr id="46085" name="Date Placeholder 1"/>
          <p:cNvSpPr>
            <a:spLocks noGrp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pPr defTabSz="882183"/>
            <a:endParaRPr lang="en-US" alt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6986807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7"/>
          <p:cNvSpPr txBox="1">
            <a:spLocks noGrp="1" noChangeArrowheads="1"/>
          </p:cNvSpPr>
          <p:nvPr/>
        </p:nvSpPr>
        <p:spPr bwMode="auto">
          <a:xfrm>
            <a:off x="3886007" y="8685896"/>
            <a:ext cx="2972004" cy="4581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8266" tIns="44134" rIns="88266" bIns="44134" anchor="b"/>
          <a:lstStyle/>
          <a:p>
            <a:pPr algn="r" defTabSz="851132" eaLnBrk="0" fontAlgn="base" hangingPunct="0">
              <a:spcBef>
                <a:spcPct val="0"/>
              </a:spcBef>
              <a:spcAft>
                <a:spcPct val="0"/>
              </a:spcAft>
            </a:pPr>
            <a:fld id="{1CFFB999-C43D-43AB-8AE3-51E5A93F9B62}" type="slidenum">
              <a:rPr lang="en-GB" altLang="en-US" sz="1200">
                <a:solidFill>
                  <a:prstClr val="black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pPr algn="r" defTabSz="851132" eaLnBrk="0" fontAlgn="base" hangingPunct="0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en-GB" altLang="en-US" sz="1200" dirty="0">
              <a:solidFill>
                <a:prstClr val="black"/>
              </a:solidFill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460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7388"/>
            <a:ext cx="4572000" cy="3429000"/>
          </a:xfrm>
          <a:ln/>
        </p:spPr>
      </p:sp>
      <p:sp>
        <p:nvSpPr>
          <p:cNvPr id="4608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2483" y="4344369"/>
            <a:ext cx="5033083" cy="4114587"/>
          </a:xfrm>
          <a:noFill/>
          <a:ln/>
        </p:spPr>
        <p:txBody>
          <a:bodyPr lIns="88266" tIns="44134" rIns="88266" bIns="44134"/>
          <a:lstStyle/>
          <a:p>
            <a:pPr eaLnBrk="1" hangingPunct="1"/>
            <a:endParaRPr lang="en-GB" altLang="en-US" dirty="0" smtClean="0"/>
          </a:p>
        </p:txBody>
      </p:sp>
      <p:sp>
        <p:nvSpPr>
          <p:cNvPr id="46085" name="Date Placeholder 1"/>
          <p:cNvSpPr>
            <a:spLocks noGrp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pPr defTabSz="882183"/>
            <a:endParaRPr lang="en-US" alt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6986807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7"/>
          <p:cNvSpPr txBox="1">
            <a:spLocks noGrp="1" noChangeArrowheads="1"/>
          </p:cNvSpPr>
          <p:nvPr/>
        </p:nvSpPr>
        <p:spPr bwMode="auto">
          <a:xfrm>
            <a:off x="3886007" y="8685896"/>
            <a:ext cx="2972004" cy="4581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8266" tIns="44134" rIns="88266" bIns="44134" anchor="b"/>
          <a:lstStyle/>
          <a:p>
            <a:pPr algn="r" defTabSz="851132" eaLnBrk="0" fontAlgn="base" hangingPunct="0">
              <a:spcBef>
                <a:spcPct val="0"/>
              </a:spcBef>
              <a:spcAft>
                <a:spcPct val="0"/>
              </a:spcAft>
            </a:pPr>
            <a:fld id="{1CFFB999-C43D-43AB-8AE3-51E5A93F9B62}" type="slidenum">
              <a:rPr lang="en-GB" altLang="en-US" sz="1200">
                <a:solidFill>
                  <a:prstClr val="black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pPr algn="r" defTabSz="851132" eaLnBrk="0" fontAlgn="base" hangingPunct="0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n-GB" altLang="en-US" sz="1200" dirty="0">
              <a:solidFill>
                <a:prstClr val="black"/>
              </a:solidFill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460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7388"/>
            <a:ext cx="4572000" cy="3429000"/>
          </a:xfrm>
          <a:ln/>
        </p:spPr>
      </p:sp>
      <p:sp>
        <p:nvSpPr>
          <p:cNvPr id="4608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2483" y="4344369"/>
            <a:ext cx="5033083" cy="4114587"/>
          </a:xfrm>
          <a:noFill/>
          <a:ln/>
        </p:spPr>
        <p:txBody>
          <a:bodyPr lIns="88266" tIns="44134" rIns="88266" bIns="44134"/>
          <a:lstStyle/>
          <a:p>
            <a:pPr eaLnBrk="1" hangingPunct="1"/>
            <a:endParaRPr lang="en-GB" altLang="en-US" dirty="0" smtClean="0"/>
          </a:p>
        </p:txBody>
      </p:sp>
      <p:sp>
        <p:nvSpPr>
          <p:cNvPr id="46085" name="Date Placeholder 1"/>
          <p:cNvSpPr>
            <a:spLocks noGrp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pPr defTabSz="882183"/>
            <a:endParaRPr lang="en-US" alt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6986807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7"/>
          <p:cNvSpPr txBox="1">
            <a:spLocks noGrp="1" noChangeArrowheads="1"/>
          </p:cNvSpPr>
          <p:nvPr/>
        </p:nvSpPr>
        <p:spPr bwMode="auto">
          <a:xfrm>
            <a:off x="3886007" y="8685896"/>
            <a:ext cx="2972004" cy="4581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8266" tIns="44134" rIns="88266" bIns="44134" anchor="b"/>
          <a:lstStyle/>
          <a:p>
            <a:pPr algn="r" defTabSz="851132" eaLnBrk="0" fontAlgn="base" hangingPunct="0">
              <a:spcBef>
                <a:spcPct val="0"/>
              </a:spcBef>
              <a:spcAft>
                <a:spcPct val="0"/>
              </a:spcAft>
            </a:pPr>
            <a:fld id="{1CFFB999-C43D-43AB-8AE3-51E5A93F9B62}" type="slidenum">
              <a:rPr lang="en-GB" altLang="en-US" sz="1200">
                <a:solidFill>
                  <a:prstClr val="black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pPr algn="r" defTabSz="851132" eaLnBrk="0" fontAlgn="base" hangingPunct="0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n-GB" altLang="en-US" sz="1200" dirty="0">
              <a:solidFill>
                <a:prstClr val="black"/>
              </a:solidFill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460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7388"/>
            <a:ext cx="4572000" cy="3429000"/>
          </a:xfrm>
          <a:ln/>
        </p:spPr>
      </p:sp>
      <p:sp>
        <p:nvSpPr>
          <p:cNvPr id="4608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2483" y="4344369"/>
            <a:ext cx="5033083" cy="4114587"/>
          </a:xfrm>
          <a:noFill/>
          <a:ln/>
        </p:spPr>
        <p:txBody>
          <a:bodyPr lIns="88266" tIns="44134" rIns="88266" bIns="44134"/>
          <a:lstStyle/>
          <a:p>
            <a:pPr eaLnBrk="1" hangingPunct="1"/>
            <a:endParaRPr lang="en-GB" altLang="en-US" dirty="0" smtClean="0"/>
          </a:p>
        </p:txBody>
      </p:sp>
      <p:sp>
        <p:nvSpPr>
          <p:cNvPr id="46085" name="Date Placeholder 1"/>
          <p:cNvSpPr>
            <a:spLocks noGrp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pPr defTabSz="882183"/>
            <a:endParaRPr lang="en-US" alt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6986807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7"/>
          <p:cNvSpPr txBox="1">
            <a:spLocks noGrp="1" noChangeArrowheads="1"/>
          </p:cNvSpPr>
          <p:nvPr/>
        </p:nvSpPr>
        <p:spPr bwMode="auto">
          <a:xfrm>
            <a:off x="3886007" y="8685896"/>
            <a:ext cx="2972004" cy="4581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8266" tIns="44134" rIns="88266" bIns="44134" anchor="b"/>
          <a:lstStyle/>
          <a:p>
            <a:pPr algn="r" defTabSz="851132" eaLnBrk="0" fontAlgn="base" hangingPunct="0">
              <a:spcBef>
                <a:spcPct val="0"/>
              </a:spcBef>
              <a:spcAft>
                <a:spcPct val="0"/>
              </a:spcAft>
            </a:pPr>
            <a:fld id="{1CFFB999-C43D-43AB-8AE3-51E5A93F9B62}" type="slidenum">
              <a:rPr lang="en-GB" altLang="en-US" sz="1200">
                <a:solidFill>
                  <a:prstClr val="black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pPr algn="r" defTabSz="851132" eaLnBrk="0" fontAlgn="base" hangingPunct="0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en-GB" altLang="en-US" sz="1200" dirty="0">
              <a:solidFill>
                <a:prstClr val="black"/>
              </a:solidFill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460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7388"/>
            <a:ext cx="4572000" cy="3429000"/>
          </a:xfrm>
          <a:ln/>
        </p:spPr>
      </p:sp>
      <p:sp>
        <p:nvSpPr>
          <p:cNvPr id="4608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2483" y="4344369"/>
            <a:ext cx="5033083" cy="4114587"/>
          </a:xfrm>
          <a:noFill/>
          <a:ln/>
        </p:spPr>
        <p:txBody>
          <a:bodyPr lIns="88266" tIns="44134" rIns="88266" bIns="44134"/>
          <a:lstStyle/>
          <a:p>
            <a:pPr eaLnBrk="1" hangingPunct="1"/>
            <a:endParaRPr lang="en-GB" altLang="en-US" dirty="0" smtClean="0"/>
          </a:p>
        </p:txBody>
      </p:sp>
      <p:sp>
        <p:nvSpPr>
          <p:cNvPr id="46085" name="Date Placeholder 1"/>
          <p:cNvSpPr>
            <a:spLocks noGrp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pPr defTabSz="882183"/>
            <a:endParaRPr lang="en-US" alt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6986807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7"/>
          <p:cNvSpPr txBox="1">
            <a:spLocks noGrp="1" noChangeArrowheads="1"/>
          </p:cNvSpPr>
          <p:nvPr/>
        </p:nvSpPr>
        <p:spPr bwMode="auto">
          <a:xfrm>
            <a:off x="3886007" y="8685896"/>
            <a:ext cx="2972004" cy="4581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8266" tIns="44134" rIns="88266" bIns="44134" anchor="b"/>
          <a:lstStyle/>
          <a:p>
            <a:pPr algn="r" defTabSz="851132" eaLnBrk="0" fontAlgn="base" hangingPunct="0">
              <a:spcBef>
                <a:spcPct val="0"/>
              </a:spcBef>
              <a:spcAft>
                <a:spcPct val="0"/>
              </a:spcAft>
            </a:pPr>
            <a:fld id="{1CFFB999-C43D-43AB-8AE3-51E5A93F9B62}" type="slidenum">
              <a:rPr lang="en-GB" altLang="en-US" sz="1200">
                <a:solidFill>
                  <a:prstClr val="black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pPr algn="r" defTabSz="851132" eaLnBrk="0" fontAlgn="base" hangingPunct="0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en-GB" altLang="en-US" sz="1200" dirty="0">
              <a:solidFill>
                <a:prstClr val="black"/>
              </a:solidFill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460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7388"/>
            <a:ext cx="4572000" cy="3429000"/>
          </a:xfrm>
          <a:ln/>
        </p:spPr>
      </p:sp>
      <p:sp>
        <p:nvSpPr>
          <p:cNvPr id="4608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2483" y="4344369"/>
            <a:ext cx="5033083" cy="4114587"/>
          </a:xfrm>
          <a:noFill/>
          <a:ln/>
        </p:spPr>
        <p:txBody>
          <a:bodyPr lIns="88266" tIns="44134" rIns="88266" bIns="44134"/>
          <a:lstStyle/>
          <a:p>
            <a:pPr eaLnBrk="1" hangingPunct="1"/>
            <a:endParaRPr lang="en-GB" altLang="en-US" dirty="0" smtClean="0"/>
          </a:p>
        </p:txBody>
      </p:sp>
      <p:sp>
        <p:nvSpPr>
          <p:cNvPr id="46085" name="Date Placeholder 1"/>
          <p:cNvSpPr>
            <a:spLocks noGrp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pPr defTabSz="882183"/>
            <a:endParaRPr lang="en-US" alt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69868077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7"/>
          <p:cNvSpPr txBox="1">
            <a:spLocks noGrp="1" noChangeArrowheads="1"/>
          </p:cNvSpPr>
          <p:nvPr/>
        </p:nvSpPr>
        <p:spPr bwMode="auto">
          <a:xfrm>
            <a:off x="3886007" y="8685896"/>
            <a:ext cx="2972004" cy="4581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8266" tIns="44134" rIns="88266" bIns="44134" anchor="b"/>
          <a:lstStyle/>
          <a:p>
            <a:pPr algn="r" defTabSz="851132" eaLnBrk="0" fontAlgn="base" hangingPunct="0">
              <a:spcBef>
                <a:spcPct val="0"/>
              </a:spcBef>
              <a:spcAft>
                <a:spcPct val="0"/>
              </a:spcAft>
            </a:pPr>
            <a:fld id="{1CFFB999-C43D-43AB-8AE3-51E5A93F9B62}" type="slidenum">
              <a:rPr lang="en-GB" altLang="en-US" sz="1200">
                <a:solidFill>
                  <a:prstClr val="black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pPr algn="r" defTabSz="851132" eaLnBrk="0" fontAlgn="base" hangingPunct="0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en-GB" altLang="en-US" sz="1200" dirty="0">
              <a:solidFill>
                <a:prstClr val="black"/>
              </a:solidFill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460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7388"/>
            <a:ext cx="4572000" cy="3429000"/>
          </a:xfrm>
          <a:ln/>
        </p:spPr>
      </p:sp>
      <p:sp>
        <p:nvSpPr>
          <p:cNvPr id="4608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2483" y="4344369"/>
            <a:ext cx="5033083" cy="4114587"/>
          </a:xfrm>
          <a:noFill/>
          <a:ln/>
        </p:spPr>
        <p:txBody>
          <a:bodyPr lIns="88266" tIns="44134" rIns="88266" bIns="44134"/>
          <a:lstStyle/>
          <a:p>
            <a:pPr eaLnBrk="1" hangingPunct="1"/>
            <a:endParaRPr lang="en-GB" altLang="en-US" dirty="0" smtClean="0"/>
          </a:p>
        </p:txBody>
      </p:sp>
      <p:sp>
        <p:nvSpPr>
          <p:cNvPr id="46085" name="Date Placeholder 1"/>
          <p:cNvSpPr>
            <a:spLocks noGrp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pPr defTabSz="882183"/>
            <a:endParaRPr lang="en-US" alt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6986807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7"/>
          <p:cNvSpPr txBox="1">
            <a:spLocks noGrp="1" noChangeArrowheads="1"/>
          </p:cNvSpPr>
          <p:nvPr/>
        </p:nvSpPr>
        <p:spPr bwMode="auto">
          <a:xfrm>
            <a:off x="3886007" y="8685896"/>
            <a:ext cx="2972004" cy="4581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8266" tIns="44134" rIns="88266" bIns="44134" anchor="b"/>
          <a:lstStyle/>
          <a:p>
            <a:pPr algn="r" defTabSz="851132" eaLnBrk="0" fontAlgn="base" hangingPunct="0">
              <a:spcBef>
                <a:spcPct val="0"/>
              </a:spcBef>
              <a:spcAft>
                <a:spcPct val="0"/>
              </a:spcAft>
            </a:pPr>
            <a:fld id="{1CFFB999-C43D-43AB-8AE3-51E5A93F9B62}" type="slidenum">
              <a:rPr lang="en-GB" altLang="en-US" sz="1200">
                <a:solidFill>
                  <a:prstClr val="black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pPr algn="r" defTabSz="851132" eaLnBrk="0" fontAlgn="base" hangingPunct="0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en-GB" altLang="en-US" sz="1200" dirty="0">
              <a:solidFill>
                <a:prstClr val="black"/>
              </a:solidFill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460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7388"/>
            <a:ext cx="4572000" cy="3429000"/>
          </a:xfrm>
          <a:ln/>
        </p:spPr>
      </p:sp>
      <p:sp>
        <p:nvSpPr>
          <p:cNvPr id="4608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2483" y="4344369"/>
            <a:ext cx="5033083" cy="4114587"/>
          </a:xfrm>
          <a:noFill/>
          <a:ln/>
        </p:spPr>
        <p:txBody>
          <a:bodyPr lIns="88266" tIns="44134" rIns="88266" bIns="44134"/>
          <a:lstStyle/>
          <a:p>
            <a:pPr eaLnBrk="1" hangingPunct="1"/>
            <a:endParaRPr lang="en-GB" altLang="en-US" dirty="0" smtClean="0"/>
          </a:p>
        </p:txBody>
      </p:sp>
      <p:sp>
        <p:nvSpPr>
          <p:cNvPr id="46085" name="Date Placeholder 1"/>
          <p:cNvSpPr>
            <a:spLocks noGrp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pPr defTabSz="882183"/>
            <a:endParaRPr lang="en-US" alt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6986807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7.xml"/><Relationship Id="rId1" Type="http://schemas.openxmlformats.org/officeDocument/2006/relationships/vmlDrawing" Target="../drawings/vmlDrawing13.vml"/><Relationship Id="rId4" Type="http://schemas.openxmlformats.org/officeDocument/2006/relationships/oleObject" Target="../embeddings/oleObject13.bin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8.xml"/><Relationship Id="rId1" Type="http://schemas.openxmlformats.org/officeDocument/2006/relationships/vmlDrawing" Target="../drawings/vmlDrawing15.vml"/><Relationship Id="rId4" Type="http://schemas.openxmlformats.org/officeDocument/2006/relationships/oleObject" Target="../embeddings/oleObject15.bin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9.xml"/><Relationship Id="rId1" Type="http://schemas.openxmlformats.org/officeDocument/2006/relationships/vmlDrawing" Target="../drawings/vmlDrawing17.vml"/><Relationship Id="rId4" Type="http://schemas.openxmlformats.org/officeDocument/2006/relationships/oleObject" Target="../embeddings/oleObject17.bin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0.xml"/><Relationship Id="rId1" Type="http://schemas.openxmlformats.org/officeDocument/2006/relationships/vmlDrawing" Target="../drawings/vmlDrawing19.vml"/><Relationship Id="rId4" Type="http://schemas.openxmlformats.org/officeDocument/2006/relationships/oleObject" Target="../embeddings/oleObject19.bin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1.xml"/><Relationship Id="rId1" Type="http://schemas.openxmlformats.org/officeDocument/2006/relationships/vmlDrawing" Target="../drawings/vmlDrawing21.vml"/><Relationship Id="rId4" Type="http://schemas.openxmlformats.org/officeDocument/2006/relationships/oleObject" Target="../embeddings/oleObject21.bin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2.xml"/><Relationship Id="rId1" Type="http://schemas.openxmlformats.org/officeDocument/2006/relationships/vmlDrawing" Target="../drawings/vmlDrawing23.vml"/><Relationship Id="rId4" Type="http://schemas.openxmlformats.org/officeDocument/2006/relationships/oleObject" Target="../embeddings/oleObject23.bin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3.xml"/><Relationship Id="rId1" Type="http://schemas.openxmlformats.org/officeDocument/2006/relationships/vmlDrawing" Target="../drawings/vmlDrawing25.vml"/><Relationship Id="rId4" Type="http://schemas.openxmlformats.org/officeDocument/2006/relationships/oleObject" Target="../embeddings/oleObject25.bin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4.xml"/><Relationship Id="rId1" Type="http://schemas.openxmlformats.org/officeDocument/2006/relationships/vmlDrawing" Target="../drawings/vmlDrawing27.vml"/><Relationship Id="rId4" Type="http://schemas.openxmlformats.org/officeDocument/2006/relationships/oleObject" Target="../embeddings/oleObject27.bin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5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6.xml"/><Relationship Id="rId1" Type="http://schemas.openxmlformats.org/officeDocument/2006/relationships/vmlDrawing" Target="../drawings/vmlDrawing29.vml"/><Relationship Id="rId4" Type="http://schemas.openxmlformats.org/officeDocument/2006/relationships/oleObject" Target="../embeddings/oleObject29.bin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7.xml"/><Relationship Id="rId1" Type="http://schemas.openxmlformats.org/officeDocument/2006/relationships/vmlDrawing" Target="../drawings/vmlDrawing31.vml"/><Relationship Id="rId4" Type="http://schemas.openxmlformats.org/officeDocument/2006/relationships/oleObject" Target="../embeddings/oleObject31.bin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4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5.xml"/><Relationship Id="rId1" Type="http://schemas.openxmlformats.org/officeDocument/2006/relationships/vmlDrawing" Target="../drawings/vmlDrawing9.vml"/><Relationship Id="rId4" Type="http://schemas.openxmlformats.org/officeDocument/2006/relationships/oleObject" Target="../embeddings/oleObject9.bin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6.xml"/><Relationship Id="rId1" Type="http://schemas.openxmlformats.org/officeDocument/2006/relationships/vmlDrawing" Target="../drawings/vmlDrawing11.vml"/><Relationship Id="rId4" Type="http://schemas.openxmlformats.org/officeDocument/2006/relationships/oleObject" Target="../embeddings/oleObject11.bin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7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435066" y="5418138"/>
            <a:ext cx="8253413" cy="315912"/>
          </a:xfrm>
        </p:spPr>
        <p:txBody>
          <a:bodyPr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142" name="Rectangle 22"/>
          <p:cNvSpPr>
            <a:spLocks noGrp="1" noChangeArrowheads="1"/>
          </p:cNvSpPr>
          <p:nvPr>
            <p:ph type="ctrTitle"/>
          </p:nvPr>
        </p:nvSpPr>
        <p:spPr>
          <a:xfrm>
            <a:off x="441329" y="4003801"/>
            <a:ext cx="8247063" cy="735013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Rectangle 23"/>
          <p:cNvSpPr>
            <a:spLocks noGrp="1" noChangeArrowheads="1"/>
          </p:cNvSpPr>
          <p:nvPr>
            <p:ph type="dt" sz="half" idx="10"/>
          </p:nvPr>
        </p:nvSpPr>
        <p:spPr bwMode="auto">
          <a:xfrm>
            <a:off x="438155" y="6324782"/>
            <a:ext cx="2281238" cy="26987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1100">
                <a:solidFill>
                  <a:schemeClr val="bg1"/>
                </a:solidFill>
                <a:ea typeface="MS PGothic" pitchFamily="34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24"/>
          <p:cNvSpPr>
            <a:spLocks noGrp="1" noChangeArrowheads="1"/>
          </p:cNvSpPr>
          <p:nvPr>
            <p:ph type="ftr" sz="quarter" idx="11"/>
          </p:nvPr>
        </p:nvSpPr>
        <p:spPr bwMode="auto">
          <a:xfrm>
            <a:off x="3228975" y="6324782"/>
            <a:ext cx="2895600" cy="26987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1100">
                <a:solidFill>
                  <a:schemeClr val="bg1"/>
                </a:solidFill>
                <a:ea typeface="MS PGothic" pitchFamily="34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Rectangle 25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453188" y="6324782"/>
            <a:ext cx="1905000" cy="2698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6994BB2-D451-4956-984E-4845F7E09F92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1687372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02A8D7-1E99-4153-B88F-06D19FAF021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423631647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BD58AC-E351-46D3-A51D-9DBB2D492E2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422122401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A1B5BF-453D-4D65-89C8-6EE5F5574AB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56004819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BC5A68-8838-4A01-9CEA-CE63321C94A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83901496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C3BC08-4C0D-4B21-887C-E773815A48D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6793656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07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A382AE-F3B0-457C-90EA-DBE2302B73A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54860291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F2FF8C-9328-445D-A580-EC37F81F351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83236429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9741E8-89F9-4C89-8BAC-C59DC9914DB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18537347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6700" y="92075"/>
            <a:ext cx="2058988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38155" y="92075"/>
            <a:ext cx="602615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86209D-A8F7-4A7A-9586-C5D60A7827D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988890105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Title, 2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39738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39738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3"/>
          </p:nvPr>
        </p:nvSpPr>
        <p:spPr>
          <a:xfrm>
            <a:off x="4633917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8851E6-13AE-4F1C-9037-0028B7910E4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62148799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33917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33917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9FA58C-68C3-4919-AE0B-243C41BD55C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1077378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6700" y="549275"/>
            <a:ext cx="2058988" cy="552608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38155" y="549275"/>
            <a:ext cx="6026150" cy="552608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FC3E49-8CE7-4318-AB1C-D37EC2DDEE8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91602955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71E991-ACE9-42CD-A9FC-438AF80F3DC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46247615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39738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33917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39738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33917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DFD94D-DAE1-4469-8B81-C16D9B9432D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75002878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102046-F5AE-46FC-AF28-000B4377308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3914942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33917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33917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5132CA-22A8-45EC-8600-7F73D462257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65620555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FC4497-A487-45FC-9899-A0F54438E0C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07285637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458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A97C1C5-E76F-4D97-AD26-785B6FA146D5}" type="datetimeFigureOut">
              <a:rPr lang="en-GB" sz="3200" baseline="-25000">
                <a:solidFill>
                  <a:prstClr val="black">
                    <a:tint val="75000"/>
                  </a:prstClr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1/01/2017</a:t>
            </a:fld>
            <a:endParaRPr lang="en-GB" sz="3200" baseline="-25000">
              <a:solidFill>
                <a:prstClr val="black">
                  <a:tint val="75000"/>
                </a:prstClr>
              </a:solidFill>
              <a:cs typeface="Arial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458"/>
            <a:ext cx="2895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3200" baseline="-25000">
              <a:solidFill>
                <a:prstClr val="black">
                  <a:tint val="75000"/>
                </a:prstClr>
              </a:solidFill>
              <a:cs typeface="Arial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0B0C3-911B-481C-AA48-2CF056B011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37744570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BD58AC-E351-46D3-A51D-9DBB2D492E2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47832438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1629" y="1614"/>
          <a:ext cx="1587" cy="1587"/>
        </p:xfrm>
        <a:graphic>
          <a:graphicData uri="http://schemas.openxmlformats.org/presentationml/2006/ole">
            <p:oleObj spid="_x0000_s28688" name="think-cell Slide" r:id="rId4" imgW="270" imgH="270" progId="">
              <p:embed/>
            </p:oleObj>
          </a:graphicData>
        </a:graphic>
      </p:graphicFrame>
      <p:sp>
        <p:nvSpPr>
          <p:cNvPr id="5127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435008" y="5418138"/>
            <a:ext cx="8253413" cy="315912"/>
          </a:xfrm>
        </p:spPr>
        <p:txBody>
          <a:bodyPr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142" name="Rectangle 22"/>
          <p:cNvSpPr>
            <a:spLocks noGrp="1" noChangeArrowheads="1"/>
          </p:cNvSpPr>
          <p:nvPr>
            <p:ph type="ctrTitle"/>
          </p:nvPr>
        </p:nvSpPr>
        <p:spPr>
          <a:xfrm>
            <a:off x="441329" y="4003702"/>
            <a:ext cx="8247063" cy="735013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" name="Rectangle 23"/>
          <p:cNvSpPr>
            <a:spLocks noGrp="1" noChangeArrowheads="1"/>
          </p:cNvSpPr>
          <p:nvPr>
            <p:ph type="dt" sz="half" idx="10"/>
          </p:nvPr>
        </p:nvSpPr>
        <p:spPr bwMode="auto">
          <a:xfrm>
            <a:off x="438155" y="6324768"/>
            <a:ext cx="2281238" cy="26987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defRPr sz="1100" baseline="0">
                <a:solidFill>
                  <a:schemeClr val="bg1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BD7C56E2-EB3E-4265-BCEF-CE87BDF41BB3}" type="datetime1">
              <a:rPr lang="en-GB">
                <a:solidFill>
                  <a:srgbClr val="FFFFFF"/>
                </a:solidFill>
              </a:rPr>
              <a:pPr fontAlgn="base">
                <a:spcAft>
                  <a:spcPct val="0"/>
                </a:spcAft>
                <a:defRPr/>
              </a:pPr>
              <a:t>31/01/2017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6" name="Rectangle 24"/>
          <p:cNvSpPr>
            <a:spLocks noGrp="1" noChangeArrowheads="1"/>
          </p:cNvSpPr>
          <p:nvPr>
            <p:ph type="ftr" sz="quarter" idx="11"/>
          </p:nvPr>
        </p:nvSpPr>
        <p:spPr bwMode="auto">
          <a:xfrm>
            <a:off x="3228975" y="6324768"/>
            <a:ext cx="2895600" cy="26987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defRPr sz="1100" baseline="0">
                <a:solidFill>
                  <a:schemeClr val="bg1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en-GB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7" name="Rectangle 25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453188" y="6324768"/>
            <a:ext cx="1905000" cy="2698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48D2197-D1A8-4593-94A3-27CF4D75F1ED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630308085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8DC77B-49C6-4601-9726-BD7B36CE4D5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39245068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706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71E14E-C5D0-4A6D-980A-5E64E2C8B77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4853092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549276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960563"/>
            <a:ext cx="4041775" cy="4114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33917" y="1960563"/>
            <a:ext cx="4041775" cy="1981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33917" y="4094163"/>
            <a:ext cx="4041775" cy="1981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D79852E-45B7-4D2C-94A9-CCE6BCF91D0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5577475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BD58AC-E351-46D3-A51D-9DBB2D492E2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92216267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A1B5BF-453D-4D65-89C8-6EE5F5574AB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4641864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BC5A68-8838-4A01-9CEA-CE63321C94A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80399340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C3BC08-4C0D-4B21-887C-E773815A48D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850711865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07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A382AE-F3B0-457C-90EA-DBE2302B73A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15940733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F2FF8C-9328-445D-A580-EC37F81F351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4201178045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9741E8-89F9-4C89-8BAC-C59DC9914DB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577106258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6700" y="92075"/>
            <a:ext cx="2058988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38155" y="92075"/>
            <a:ext cx="602615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86209D-A8F7-4A7A-9586-C5D60A7827D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732338023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Title, 2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39738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39738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3"/>
          </p:nvPr>
        </p:nvSpPr>
        <p:spPr>
          <a:xfrm>
            <a:off x="4633917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8851E6-13AE-4F1C-9037-0028B7910E4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57743070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33917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33917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9FA58C-68C3-4919-AE0B-243C41BD55C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5528393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38150" y="549275"/>
            <a:ext cx="8237538" cy="55260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31E211-7837-4A80-8251-DB6C64095B7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026675879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71E991-ACE9-42CD-A9FC-438AF80F3DC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544382154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39738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33917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39738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33917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DFD94D-DAE1-4469-8B81-C16D9B9432D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408650108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102046-F5AE-46FC-AF28-000B4377308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204843549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33917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33917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5132CA-22A8-45EC-8600-7F73D462257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412904044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FC4497-A487-45FC-9899-A0F54438E0C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902274840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458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A97C1C5-E76F-4D97-AD26-785B6FA146D5}" type="datetimeFigureOut">
              <a:rPr lang="en-GB" sz="3200" baseline="-25000">
                <a:solidFill>
                  <a:prstClr val="black">
                    <a:tint val="75000"/>
                  </a:prstClr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1/01/2017</a:t>
            </a:fld>
            <a:endParaRPr lang="en-GB" sz="3200" baseline="-25000">
              <a:solidFill>
                <a:prstClr val="black">
                  <a:tint val="75000"/>
                </a:prstClr>
              </a:solidFill>
              <a:cs typeface="Arial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458"/>
            <a:ext cx="2895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3200" baseline="-25000">
              <a:solidFill>
                <a:prstClr val="black">
                  <a:tint val="75000"/>
                </a:prstClr>
              </a:solidFill>
              <a:cs typeface="Arial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0B0C3-911B-481C-AA48-2CF056B011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92337607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BD58AC-E351-46D3-A51D-9DBB2D492E2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4036467456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1629" y="1614"/>
          <a:ext cx="1587" cy="1587"/>
        </p:xfrm>
        <a:graphic>
          <a:graphicData uri="http://schemas.openxmlformats.org/presentationml/2006/ole">
            <p:oleObj spid="_x0000_s31760" name="think-cell Slide" r:id="rId4" imgW="270" imgH="270" progId="">
              <p:embed/>
            </p:oleObj>
          </a:graphicData>
        </a:graphic>
      </p:graphicFrame>
      <p:sp>
        <p:nvSpPr>
          <p:cNvPr id="5127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435008" y="5418138"/>
            <a:ext cx="8253413" cy="315912"/>
          </a:xfrm>
        </p:spPr>
        <p:txBody>
          <a:bodyPr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142" name="Rectangle 22"/>
          <p:cNvSpPr>
            <a:spLocks noGrp="1" noChangeArrowheads="1"/>
          </p:cNvSpPr>
          <p:nvPr>
            <p:ph type="ctrTitle"/>
          </p:nvPr>
        </p:nvSpPr>
        <p:spPr>
          <a:xfrm>
            <a:off x="441329" y="4003702"/>
            <a:ext cx="8247063" cy="735013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" name="Rectangle 23"/>
          <p:cNvSpPr>
            <a:spLocks noGrp="1" noChangeArrowheads="1"/>
          </p:cNvSpPr>
          <p:nvPr>
            <p:ph type="dt" sz="half" idx="10"/>
          </p:nvPr>
        </p:nvSpPr>
        <p:spPr bwMode="auto">
          <a:xfrm>
            <a:off x="438155" y="6324768"/>
            <a:ext cx="2281238" cy="26987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defRPr sz="1100" baseline="0">
                <a:solidFill>
                  <a:schemeClr val="bg1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BD7C56E2-EB3E-4265-BCEF-CE87BDF41BB3}" type="datetime1">
              <a:rPr lang="en-GB">
                <a:solidFill>
                  <a:srgbClr val="FFFFFF"/>
                </a:solidFill>
              </a:rPr>
              <a:pPr fontAlgn="base">
                <a:spcAft>
                  <a:spcPct val="0"/>
                </a:spcAft>
                <a:defRPr/>
              </a:pPr>
              <a:t>31/01/2017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6" name="Rectangle 24"/>
          <p:cNvSpPr>
            <a:spLocks noGrp="1" noChangeArrowheads="1"/>
          </p:cNvSpPr>
          <p:nvPr>
            <p:ph type="ftr" sz="quarter" idx="11"/>
          </p:nvPr>
        </p:nvSpPr>
        <p:spPr bwMode="auto">
          <a:xfrm>
            <a:off x="3228975" y="6324768"/>
            <a:ext cx="2895600" cy="26987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defRPr sz="1100" baseline="0">
                <a:solidFill>
                  <a:schemeClr val="bg1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en-GB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7" name="Rectangle 25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453188" y="6324768"/>
            <a:ext cx="1905000" cy="2698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48D2197-D1A8-4593-94A3-27CF4D75F1ED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723208279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8DC77B-49C6-4601-9726-BD7B36CE4D5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483187476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706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71E14E-C5D0-4A6D-980A-5E64E2C8B77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40091973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549276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39738" y="1960563"/>
            <a:ext cx="4041775" cy="4114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3917" y="1960563"/>
            <a:ext cx="4041775" cy="4114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D41624-9892-49F2-99D2-61BF810ABA0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874346380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BD58AC-E351-46D3-A51D-9DBB2D492E2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765434906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A1B5BF-453D-4D65-89C8-6EE5F5574AB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222488486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BC5A68-8838-4A01-9CEA-CE63321C94A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929846042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C3BC08-4C0D-4B21-887C-E773815A48D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012165195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07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A382AE-F3B0-457C-90EA-DBE2302B73A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4149205356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F2FF8C-9328-445D-A580-EC37F81F351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520573201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9741E8-89F9-4C89-8BAC-C59DC9914DB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52788296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6700" y="92075"/>
            <a:ext cx="2058988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38155" y="92075"/>
            <a:ext cx="602615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86209D-A8F7-4A7A-9586-C5D60A7827D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4150111218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Title, 2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39738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39738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3"/>
          </p:nvPr>
        </p:nvSpPr>
        <p:spPr>
          <a:xfrm>
            <a:off x="4633917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8851E6-13AE-4F1C-9037-0028B7910E4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052343608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33917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33917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9FA58C-68C3-4919-AE0B-243C41BD55C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1124448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549276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39738" y="1960563"/>
            <a:ext cx="4041775" cy="4114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33917" y="1960563"/>
            <a:ext cx="4041775" cy="1981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33917" y="4094163"/>
            <a:ext cx="4041775" cy="1981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4B8BEEF-6F24-4E5E-8E2C-E22DE83F025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77696020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71E991-ACE9-42CD-A9FC-438AF80F3DC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009630068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39738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33917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39738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33917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DFD94D-DAE1-4469-8B81-C16D9B9432D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344867275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102046-F5AE-46FC-AF28-000B4377308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318754575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33917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33917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5132CA-22A8-45EC-8600-7F73D462257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314080552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FC4497-A487-45FC-9899-A0F54438E0C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471159290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458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A97C1C5-E76F-4D97-AD26-785B6FA146D5}" type="datetimeFigureOut">
              <a:rPr lang="en-GB" sz="3200" baseline="-25000">
                <a:solidFill>
                  <a:prstClr val="black">
                    <a:tint val="75000"/>
                  </a:prstClr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1/01/2017</a:t>
            </a:fld>
            <a:endParaRPr lang="en-GB" sz="3200" baseline="-25000">
              <a:solidFill>
                <a:prstClr val="black">
                  <a:tint val="75000"/>
                </a:prstClr>
              </a:solidFill>
              <a:cs typeface="Arial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458"/>
            <a:ext cx="2895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3200" baseline="-25000">
              <a:solidFill>
                <a:prstClr val="black">
                  <a:tint val="75000"/>
                </a:prstClr>
              </a:solidFill>
              <a:cs typeface="Arial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0B0C3-911B-481C-AA48-2CF056B011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794873581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BD58AC-E351-46D3-A51D-9DBB2D492E2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281832438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1629" y="1614"/>
          <a:ext cx="1587" cy="1587"/>
        </p:xfrm>
        <a:graphic>
          <a:graphicData uri="http://schemas.openxmlformats.org/presentationml/2006/ole">
            <p:oleObj spid="_x0000_s33808" name="think-cell Slide" r:id="rId4" imgW="270" imgH="270" progId="">
              <p:embed/>
            </p:oleObj>
          </a:graphicData>
        </a:graphic>
      </p:graphicFrame>
      <p:sp>
        <p:nvSpPr>
          <p:cNvPr id="5127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435008" y="5418138"/>
            <a:ext cx="8253413" cy="315912"/>
          </a:xfrm>
        </p:spPr>
        <p:txBody>
          <a:bodyPr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142" name="Rectangle 22"/>
          <p:cNvSpPr>
            <a:spLocks noGrp="1" noChangeArrowheads="1"/>
          </p:cNvSpPr>
          <p:nvPr>
            <p:ph type="ctrTitle"/>
          </p:nvPr>
        </p:nvSpPr>
        <p:spPr>
          <a:xfrm>
            <a:off x="441329" y="4003702"/>
            <a:ext cx="8247063" cy="735013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" name="Rectangle 23"/>
          <p:cNvSpPr>
            <a:spLocks noGrp="1" noChangeArrowheads="1"/>
          </p:cNvSpPr>
          <p:nvPr>
            <p:ph type="dt" sz="half" idx="10"/>
          </p:nvPr>
        </p:nvSpPr>
        <p:spPr bwMode="auto">
          <a:xfrm>
            <a:off x="438155" y="6324768"/>
            <a:ext cx="2281238" cy="26987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defRPr sz="1100" baseline="0">
                <a:solidFill>
                  <a:schemeClr val="bg1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BD7C56E2-EB3E-4265-BCEF-CE87BDF41BB3}" type="datetime1">
              <a:rPr lang="en-GB">
                <a:solidFill>
                  <a:srgbClr val="FFFFFF"/>
                </a:solidFill>
              </a:rPr>
              <a:pPr fontAlgn="base">
                <a:spcAft>
                  <a:spcPct val="0"/>
                </a:spcAft>
                <a:defRPr/>
              </a:pPr>
              <a:t>31/01/2017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6" name="Rectangle 24"/>
          <p:cNvSpPr>
            <a:spLocks noGrp="1" noChangeArrowheads="1"/>
          </p:cNvSpPr>
          <p:nvPr>
            <p:ph type="ftr" sz="quarter" idx="11"/>
          </p:nvPr>
        </p:nvSpPr>
        <p:spPr bwMode="auto">
          <a:xfrm>
            <a:off x="3228975" y="6324768"/>
            <a:ext cx="2895600" cy="26987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defRPr sz="1100" baseline="0">
                <a:solidFill>
                  <a:schemeClr val="bg1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en-GB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7" name="Rectangle 25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453188" y="6324768"/>
            <a:ext cx="1905000" cy="2698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48D2197-D1A8-4593-94A3-27CF4D75F1ED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141321373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8DC77B-49C6-4601-9726-BD7B36CE4D5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008556087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706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71E14E-C5D0-4A6D-980A-5E64E2C8B77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11551193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8DC77B-49C6-4601-9726-BD7B36CE4D5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5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42547" y="6243071"/>
            <a:ext cx="8248650" cy="342778"/>
          </a:xfrm>
        </p:spPr>
        <p:txBody>
          <a:bodyPr anchor="b" anchorCtr="0">
            <a:normAutofit/>
          </a:bodyPr>
          <a:lstStyle>
            <a:lvl1pPr marL="128102" indent="-128102">
              <a:buNone/>
              <a:defRPr sz="800" i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[Footnote]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457972001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BD58AC-E351-46D3-A51D-9DBB2D492E2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875749441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A1B5BF-453D-4D65-89C8-6EE5F5574AB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842796212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BC5A68-8838-4A01-9CEA-CE63321C94A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630921216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C3BC08-4C0D-4B21-887C-E773815A48D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370238825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07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A382AE-F3B0-457C-90EA-DBE2302B73A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377024675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F2FF8C-9328-445D-A580-EC37F81F351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590251425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9741E8-89F9-4C89-8BAC-C59DC9914DB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117983553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6700" y="92075"/>
            <a:ext cx="2058988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38155" y="92075"/>
            <a:ext cx="602615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86209D-A8F7-4A7A-9586-C5D60A7827D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645623475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Title, 2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39738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39738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3"/>
          </p:nvPr>
        </p:nvSpPr>
        <p:spPr>
          <a:xfrm>
            <a:off x="4633917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8851E6-13AE-4F1C-9037-0028B7910E4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788188277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33917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33917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9FA58C-68C3-4919-AE0B-243C41BD55C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95788260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1629" y="1614"/>
          <a:ext cx="1587" cy="1587"/>
        </p:xfrm>
        <a:graphic>
          <a:graphicData uri="http://schemas.openxmlformats.org/presentationml/2006/ole">
            <p:oleObj spid="_x0000_s3088" name="think-cell Slide" r:id="rId4" imgW="270" imgH="270" progId="">
              <p:embed/>
            </p:oleObj>
          </a:graphicData>
        </a:graphic>
      </p:graphicFrame>
      <p:sp>
        <p:nvSpPr>
          <p:cNvPr id="5127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435008" y="5418138"/>
            <a:ext cx="8253413" cy="315912"/>
          </a:xfrm>
        </p:spPr>
        <p:txBody>
          <a:bodyPr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142" name="Rectangle 22"/>
          <p:cNvSpPr>
            <a:spLocks noGrp="1" noChangeArrowheads="1"/>
          </p:cNvSpPr>
          <p:nvPr>
            <p:ph type="ctrTitle"/>
          </p:nvPr>
        </p:nvSpPr>
        <p:spPr>
          <a:xfrm>
            <a:off x="441329" y="4003702"/>
            <a:ext cx="8247063" cy="735013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" name="Rectangle 23"/>
          <p:cNvSpPr>
            <a:spLocks noGrp="1" noChangeArrowheads="1"/>
          </p:cNvSpPr>
          <p:nvPr>
            <p:ph type="dt" sz="half" idx="10"/>
          </p:nvPr>
        </p:nvSpPr>
        <p:spPr bwMode="auto">
          <a:xfrm>
            <a:off x="438155" y="6324768"/>
            <a:ext cx="2281238" cy="26987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defRPr sz="1100" baseline="0">
                <a:solidFill>
                  <a:schemeClr val="bg1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BD7C56E2-EB3E-4265-BCEF-CE87BDF41BB3}" type="datetime1">
              <a:rPr lang="en-GB">
                <a:solidFill>
                  <a:srgbClr val="FFFFFF"/>
                </a:solidFill>
              </a:rPr>
              <a:pPr fontAlgn="base">
                <a:spcAft>
                  <a:spcPct val="0"/>
                </a:spcAft>
                <a:defRPr/>
              </a:pPr>
              <a:t>31/01/2017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6" name="Rectangle 24"/>
          <p:cNvSpPr>
            <a:spLocks noGrp="1" noChangeArrowheads="1"/>
          </p:cNvSpPr>
          <p:nvPr>
            <p:ph type="ftr" sz="quarter" idx="11"/>
          </p:nvPr>
        </p:nvSpPr>
        <p:spPr bwMode="auto">
          <a:xfrm>
            <a:off x="3228975" y="6324768"/>
            <a:ext cx="2895600" cy="26987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defRPr sz="1100" baseline="0">
                <a:solidFill>
                  <a:schemeClr val="bg1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en-GB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7" name="Rectangle 25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453188" y="6324768"/>
            <a:ext cx="1905000" cy="2698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48D2197-D1A8-4593-94A3-27CF4D75F1ED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43563885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71E991-ACE9-42CD-A9FC-438AF80F3DC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15981228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39738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33917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39738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33917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DFD94D-DAE1-4469-8B81-C16D9B9432D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302435674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102046-F5AE-46FC-AF28-000B4377308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48571804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33917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33917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5132CA-22A8-45EC-8600-7F73D462257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724822702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FC4497-A487-45FC-9899-A0F54438E0C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716307114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458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A97C1C5-E76F-4D97-AD26-785B6FA146D5}" type="datetimeFigureOut">
              <a:rPr lang="en-GB" sz="3200" baseline="-25000">
                <a:solidFill>
                  <a:prstClr val="black">
                    <a:tint val="75000"/>
                  </a:prstClr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1/01/2017</a:t>
            </a:fld>
            <a:endParaRPr lang="en-GB" sz="3200" baseline="-25000">
              <a:solidFill>
                <a:prstClr val="black">
                  <a:tint val="75000"/>
                </a:prstClr>
              </a:solidFill>
              <a:cs typeface="Arial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458"/>
            <a:ext cx="2895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3200" baseline="-25000">
              <a:solidFill>
                <a:prstClr val="black">
                  <a:tint val="75000"/>
                </a:prstClr>
              </a:solidFill>
              <a:cs typeface="Arial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0B0C3-911B-481C-AA48-2CF056B011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793267466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BD58AC-E351-46D3-A51D-9DBB2D492E2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912496540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1629" y="1614"/>
          <a:ext cx="1587" cy="1587"/>
        </p:xfrm>
        <a:graphic>
          <a:graphicData uri="http://schemas.openxmlformats.org/presentationml/2006/ole">
            <p:oleObj spid="_x0000_s35856" name="think-cell Slide" r:id="rId4" imgW="270" imgH="270" progId="">
              <p:embed/>
            </p:oleObj>
          </a:graphicData>
        </a:graphic>
      </p:graphicFrame>
      <p:sp>
        <p:nvSpPr>
          <p:cNvPr id="5127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435008" y="5418138"/>
            <a:ext cx="8253413" cy="315912"/>
          </a:xfrm>
        </p:spPr>
        <p:txBody>
          <a:bodyPr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142" name="Rectangle 22"/>
          <p:cNvSpPr>
            <a:spLocks noGrp="1" noChangeArrowheads="1"/>
          </p:cNvSpPr>
          <p:nvPr>
            <p:ph type="ctrTitle"/>
          </p:nvPr>
        </p:nvSpPr>
        <p:spPr>
          <a:xfrm>
            <a:off x="441329" y="4003702"/>
            <a:ext cx="8247063" cy="735013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" name="Rectangle 23"/>
          <p:cNvSpPr>
            <a:spLocks noGrp="1" noChangeArrowheads="1"/>
          </p:cNvSpPr>
          <p:nvPr>
            <p:ph type="dt" sz="half" idx="10"/>
          </p:nvPr>
        </p:nvSpPr>
        <p:spPr bwMode="auto">
          <a:xfrm>
            <a:off x="438155" y="6324768"/>
            <a:ext cx="2281238" cy="26987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defRPr sz="1100" baseline="0">
                <a:solidFill>
                  <a:schemeClr val="bg1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BD7C56E2-EB3E-4265-BCEF-CE87BDF41BB3}" type="datetime1">
              <a:rPr lang="en-GB">
                <a:solidFill>
                  <a:srgbClr val="FFFFFF"/>
                </a:solidFill>
              </a:rPr>
              <a:pPr fontAlgn="base">
                <a:spcAft>
                  <a:spcPct val="0"/>
                </a:spcAft>
                <a:defRPr/>
              </a:pPr>
              <a:t>31/01/2017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6" name="Rectangle 24"/>
          <p:cNvSpPr>
            <a:spLocks noGrp="1" noChangeArrowheads="1"/>
          </p:cNvSpPr>
          <p:nvPr>
            <p:ph type="ftr" sz="quarter" idx="11"/>
          </p:nvPr>
        </p:nvSpPr>
        <p:spPr bwMode="auto">
          <a:xfrm>
            <a:off x="3228975" y="6324768"/>
            <a:ext cx="2895600" cy="26987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defRPr sz="1100" baseline="0">
                <a:solidFill>
                  <a:schemeClr val="bg1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en-GB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7" name="Rectangle 25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453188" y="6324768"/>
            <a:ext cx="1905000" cy="2698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48D2197-D1A8-4593-94A3-27CF4D75F1ED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030034660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8DC77B-49C6-4601-9726-BD7B36CE4D5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22331544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706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71E14E-C5D0-4A6D-980A-5E64E2C8B77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0426541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8DC77B-49C6-4601-9726-BD7B36CE4D5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630230776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BD58AC-E351-46D3-A51D-9DBB2D492E2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213129236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A1B5BF-453D-4D65-89C8-6EE5F5574AB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563536060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BC5A68-8838-4A01-9CEA-CE63321C94A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440750476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C3BC08-4C0D-4B21-887C-E773815A48D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713313852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07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A382AE-F3B0-457C-90EA-DBE2302B73A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544169203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F2FF8C-9328-445D-A580-EC37F81F351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464767704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9741E8-89F9-4C89-8BAC-C59DC9914DB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661030957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6700" y="92075"/>
            <a:ext cx="2058988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38155" y="92075"/>
            <a:ext cx="602615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86209D-A8F7-4A7A-9586-C5D60A7827D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679925011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Title, 2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39738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39738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3"/>
          </p:nvPr>
        </p:nvSpPr>
        <p:spPr>
          <a:xfrm>
            <a:off x="4633917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8851E6-13AE-4F1C-9037-0028B7910E4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223510968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33917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33917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9FA58C-68C3-4919-AE0B-243C41BD55C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41342360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706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71E14E-C5D0-4A6D-980A-5E64E2C8B77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4232543827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71E991-ACE9-42CD-A9FC-438AF80F3DC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4048247425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39738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33917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39738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33917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DFD94D-DAE1-4469-8B81-C16D9B9432D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548573689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102046-F5AE-46FC-AF28-000B4377308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504372525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33917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33917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5132CA-22A8-45EC-8600-7F73D462257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274717352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FC4497-A487-45FC-9899-A0F54438E0C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751922810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458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A97C1C5-E76F-4D97-AD26-785B6FA146D5}" type="datetimeFigureOut">
              <a:rPr lang="en-GB" sz="3200" baseline="-25000">
                <a:solidFill>
                  <a:prstClr val="black">
                    <a:tint val="75000"/>
                  </a:prstClr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1/01/2017</a:t>
            </a:fld>
            <a:endParaRPr lang="en-GB" sz="3200" baseline="-25000">
              <a:solidFill>
                <a:prstClr val="black">
                  <a:tint val="75000"/>
                </a:prstClr>
              </a:solidFill>
              <a:cs typeface="Arial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458"/>
            <a:ext cx="2895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3200" baseline="-25000">
              <a:solidFill>
                <a:prstClr val="black">
                  <a:tint val="75000"/>
                </a:prstClr>
              </a:solidFill>
              <a:cs typeface="Arial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0B0C3-911B-481C-AA48-2CF056B011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852666103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BD58AC-E351-46D3-A51D-9DBB2D492E2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886277570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1629" y="1614"/>
          <a:ext cx="1587" cy="1587"/>
        </p:xfrm>
        <a:graphic>
          <a:graphicData uri="http://schemas.openxmlformats.org/presentationml/2006/ole">
            <p:oleObj spid="_x0000_s37904" name="think-cell Slide" r:id="rId4" imgW="270" imgH="270" progId="">
              <p:embed/>
            </p:oleObj>
          </a:graphicData>
        </a:graphic>
      </p:graphicFrame>
      <p:sp>
        <p:nvSpPr>
          <p:cNvPr id="5127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435008" y="5418138"/>
            <a:ext cx="8253413" cy="315912"/>
          </a:xfrm>
        </p:spPr>
        <p:txBody>
          <a:bodyPr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142" name="Rectangle 22"/>
          <p:cNvSpPr>
            <a:spLocks noGrp="1" noChangeArrowheads="1"/>
          </p:cNvSpPr>
          <p:nvPr>
            <p:ph type="ctrTitle"/>
          </p:nvPr>
        </p:nvSpPr>
        <p:spPr>
          <a:xfrm>
            <a:off x="441329" y="4003702"/>
            <a:ext cx="8247063" cy="735013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" name="Rectangle 23"/>
          <p:cNvSpPr>
            <a:spLocks noGrp="1" noChangeArrowheads="1"/>
          </p:cNvSpPr>
          <p:nvPr>
            <p:ph type="dt" sz="half" idx="10"/>
          </p:nvPr>
        </p:nvSpPr>
        <p:spPr bwMode="auto">
          <a:xfrm>
            <a:off x="438155" y="6324768"/>
            <a:ext cx="2281238" cy="26987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defRPr sz="1100" baseline="0">
                <a:solidFill>
                  <a:schemeClr val="bg1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BD7C56E2-EB3E-4265-BCEF-CE87BDF41BB3}" type="datetime1">
              <a:rPr lang="en-GB">
                <a:solidFill>
                  <a:srgbClr val="FFFFFF"/>
                </a:solidFill>
              </a:rPr>
              <a:pPr fontAlgn="base">
                <a:spcAft>
                  <a:spcPct val="0"/>
                </a:spcAft>
                <a:defRPr/>
              </a:pPr>
              <a:t>31/01/2017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6" name="Rectangle 24"/>
          <p:cNvSpPr>
            <a:spLocks noGrp="1" noChangeArrowheads="1"/>
          </p:cNvSpPr>
          <p:nvPr>
            <p:ph type="ftr" sz="quarter" idx="11"/>
          </p:nvPr>
        </p:nvSpPr>
        <p:spPr bwMode="auto">
          <a:xfrm>
            <a:off x="3228975" y="6324768"/>
            <a:ext cx="2895600" cy="26987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defRPr sz="1100" baseline="0">
                <a:solidFill>
                  <a:schemeClr val="bg1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en-GB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7" name="Rectangle 25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453188" y="6324768"/>
            <a:ext cx="1905000" cy="2698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48D2197-D1A8-4593-94A3-27CF4D75F1ED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23545420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8DC77B-49C6-4601-9726-BD7B36CE4D5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115620456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706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71E14E-C5D0-4A6D-980A-5E64E2C8B77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8597962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E502F4-8714-4F5F-9212-3440F9CD647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74552564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BD58AC-E351-46D3-A51D-9DBB2D492E2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922107482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BD58AC-E351-46D3-A51D-9DBB2D492E2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933466445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A1B5BF-453D-4D65-89C8-6EE5F5574AB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780555213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BC5A68-8838-4A01-9CEA-CE63321C94A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459015592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C3BC08-4C0D-4B21-887C-E773815A48D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434175312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07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A382AE-F3B0-457C-90EA-DBE2302B73A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154675715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F2FF8C-9328-445D-A580-EC37F81F351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031338415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9741E8-89F9-4C89-8BAC-C59DC9914DB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169925434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6700" y="92075"/>
            <a:ext cx="2058988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38155" y="92075"/>
            <a:ext cx="602615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86209D-A8F7-4A7A-9586-C5D60A7827D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591976921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Title, 2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39738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39738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3"/>
          </p:nvPr>
        </p:nvSpPr>
        <p:spPr>
          <a:xfrm>
            <a:off x="4633917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8851E6-13AE-4F1C-9037-0028B7910E4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858565476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33917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33917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9FA58C-68C3-4919-AE0B-243C41BD55C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41788441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A1B5BF-453D-4D65-89C8-6EE5F5574AB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563752144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71E991-ACE9-42CD-A9FC-438AF80F3DC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971826261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39738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33917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39738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33917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DFD94D-DAE1-4469-8B81-C16D9B9432D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979591478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102046-F5AE-46FC-AF28-000B4377308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915616536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33917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33917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5132CA-22A8-45EC-8600-7F73D462257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4201543192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FC4497-A487-45FC-9899-A0F54438E0C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209629445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458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A97C1C5-E76F-4D97-AD26-785B6FA146D5}" type="datetimeFigureOut">
              <a:rPr lang="en-GB" sz="3200" baseline="-25000">
                <a:solidFill>
                  <a:prstClr val="black">
                    <a:tint val="75000"/>
                  </a:prstClr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1/01/2017</a:t>
            </a:fld>
            <a:endParaRPr lang="en-GB" sz="3200" baseline="-25000">
              <a:solidFill>
                <a:prstClr val="black">
                  <a:tint val="75000"/>
                </a:prstClr>
              </a:solidFill>
              <a:cs typeface="Arial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458"/>
            <a:ext cx="2895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3200" baseline="-25000">
              <a:solidFill>
                <a:prstClr val="black">
                  <a:tint val="75000"/>
                </a:prstClr>
              </a:solidFill>
              <a:cs typeface="Arial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0B0C3-911B-481C-AA48-2CF056B011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84513540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BD58AC-E351-46D3-A51D-9DBB2D492E2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56071534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1629" y="1614"/>
          <a:ext cx="1587" cy="1587"/>
        </p:xfrm>
        <a:graphic>
          <a:graphicData uri="http://schemas.openxmlformats.org/presentationml/2006/ole">
            <p:oleObj spid="_x0000_s39952" name="think-cell Slide" r:id="rId4" imgW="270" imgH="270" progId="">
              <p:embed/>
            </p:oleObj>
          </a:graphicData>
        </a:graphic>
      </p:graphicFrame>
      <p:sp>
        <p:nvSpPr>
          <p:cNvPr id="5127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435008" y="5418138"/>
            <a:ext cx="8253413" cy="315912"/>
          </a:xfrm>
        </p:spPr>
        <p:txBody>
          <a:bodyPr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142" name="Rectangle 22"/>
          <p:cNvSpPr>
            <a:spLocks noGrp="1" noChangeArrowheads="1"/>
          </p:cNvSpPr>
          <p:nvPr>
            <p:ph type="ctrTitle"/>
          </p:nvPr>
        </p:nvSpPr>
        <p:spPr>
          <a:xfrm>
            <a:off x="441329" y="4003702"/>
            <a:ext cx="8247063" cy="735013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" name="Rectangle 23"/>
          <p:cNvSpPr>
            <a:spLocks noGrp="1" noChangeArrowheads="1"/>
          </p:cNvSpPr>
          <p:nvPr>
            <p:ph type="dt" sz="half" idx="10"/>
          </p:nvPr>
        </p:nvSpPr>
        <p:spPr bwMode="auto">
          <a:xfrm>
            <a:off x="438155" y="6324768"/>
            <a:ext cx="2281238" cy="26987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defRPr sz="1100" baseline="0">
                <a:solidFill>
                  <a:schemeClr val="bg1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BD7C56E2-EB3E-4265-BCEF-CE87BDF41BB3}" type="datetime1">
              <a:rPr lang="en-GB">
                <a:solidFill>
                  <a:srgbClr val="FFFFFF"/>
                </a:solidFill>
              </a:rPr>
              <a:pPr fontAlgn="base">
                <a:spcAft>
                  <a:spcPct val="0"/>
                </a:spcAft>
                <a:defRPr/>
              </a:pPr>
              <a:t>31/01/2017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6" name="Rectangle 24"/>
          <p:cNvSpPr>
            <a:spLocks noGrp="1" noChangeArrowheads="1"/>
          </p:cNvSpPr>
          <p:nvPr>
            <p:ph type="ftr" sz="quarter" idx="11"/>
          </p:nvPr>
        </p:nvSpPr>
        <p:spPr bwMode="auto">
          <a:xfrm>
            <a:off x="3228975" y="6324768"/>
            <a:ext cx="2895600" cy="26987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defRPr sz="1100" baseline="0">
                <a:solidFill>
                  <a:schemeClr val="bg1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en-GB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7" name="Rectangle 25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453188" y="6324768"/>
            <a:ext cx="1905000" cy="2698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48D2197-D1A8-4593-94A3-27CF4D75F1ED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70589771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8DC77B-49C6-4601-9726-BD7B36CE4D5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73461571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706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71E14E-C5D0-4A6D-980A-5E64E2C8B77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14698289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BC5A68-8838-4A01-9CEA-CE63321C94A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846275339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BD58AC-E351-46D3-A51D-9DBB2D492E2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403177052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A1B5BF-453D-4D65-89C8-6EE5F5574AB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407765209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BC5A68-8838-4A01-9CEA-CE63321C94A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213316905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C3BC08-4C0D-4B21-887C-E773815A48D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303856953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07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A382AE-F3B0-457C-90EA-DBE2302B73A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988655039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F2FF8C-9328-445D-A580-EC37F81F351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975071721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9741E8-89F9-4C89-8BAC-C59DC9914DB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087529509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6700" y="92075"/>
            <a:ext cx="2058988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38155" y="92075"/>
            <a:ext cx="602615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86209D-A8F7-4A7A-9586-C5D60A7827D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328423782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Title, 2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39738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39738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3"/>
          </p:nvPr>
        </p:nvSpPr>
        <p:spPr>
          <a:xfrm>
            <a:off x="4633917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8851E6-13AE-4F1C-9037-0028B7910E4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700294351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33917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33917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9FA58C-68C3-4919-AE0B-243C41BD55C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0572511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C3BC08-4C0D-4B21-887C-E773815A48D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4111659880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71E991-ACE9-42CD-A9FC-438AF80F3DC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260034086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39738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33917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39738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33917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DFD94D-DAE1-4469-8B81-C16D9B9432D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599260899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102046-F5AE-46FC-AF28-000B4377308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871690341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33917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33917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5132CA-22A8-45EC-8600-7F73D462257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870064570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FC4497-A487-45FC-9899-A0F54438E0C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047596315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458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A97C1C5-E76F-4D97-AD26-785B6FA146D5}" type="datetimeFigureOut">
              <a:rPr lang="en-GB" sz="3200" baseline="-25000">
                <a:solidFill>
                  <a:prstClr val="black">
                    <a:tint val="75000"/>
                  </a:prstClr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1/01/2017</a:t>
            </a:fld>
            <a:endParaRPr lang="en-GB" sz="3200" baseline="-25000">
              <a:solidFill>
                <a:prstClr val="black">
                  <a:tint val="75000"/>
                </a:prstClr>
              </a:solidFill>
              <a:cs typeface="Arial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458"/>
            <a:ext cx="2895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3200" baseline="-25000">
              <a:solidFill>
                <a:prstClr val="black">
                  <a:tint val="75000"/>
                </a:prstClr>
              </a:solidFill>
              <a:cs typeface="Arial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0B0C3-911B-481C-AA48-2CF056B011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547784447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BD58AC-E351-46D3-A51D-9DBB2D492E2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98687268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1629" y="1614"/>
          <a:ext cx="1587" cy="1587"/>
        </p:xfrm>
        <a:graphic>
          <a:graphicData uri="http://schemas.openxmlformats.org/presentationml/2006/ole">
            <p:oleObj spid="_x0000_s48144" name="think-cell Slide" r:id="rId4" imgW="270" imgH="270" progId="">
              <p:embed/>
            </p:oleObj>
          </a:graphicData>
        </a:graphic>
      </p:graphicFrame>
      <p:sp>
        <p:nvSpPr>
          <p:cNvPr id="5127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435008" y="5418138"/>
            <a:ext cx="8253413" cy="315912"/>
          </a:xfrm>
        </p:spPr>
        <p:txBody>
          <a:bodyPr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142" name="Rectangle 22"/>
          <p:cNvSpPr>
            <a:spLocks noGrp="1" noChangeArrowheads="1"/>
          </p:cNvSpPr>
          <p:nvPr>
            <p:ph type="ctrTitle"/>
          </p:nvPr>
        </p:nvSpPr>
        <p:spPr>
          <a:xfrm>
            <a:off x="441329" y="4003702"/>
            <a:ext cx="8247063" cy="735013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" name="Rectangle 23"/>
          <p:cNvSpPr>
            <a:spLocks noGrp="1" noChangeArrowheads="1"/>
          </p:cNvSpPr>
          <p:nvPr>
            <p:ph type="dt" sz="half" idx="10"/>
          </p:nvPr>
        </p:nvSpPr>
        <p:spPr bwMode="auto">
          <a:xfrm>
            <a:off x="438155" y="6324768"/>
            <a:ext cx="2281238" cy="26987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defRPr sz="1100" baseline="0">
                <a:solidFill>
                  <a:schemeClr val="bg1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BD7C56E2-EB3E-4265-BCEF-CE87BDF41BB3}" type="datetime1">
              <a:rPr lang="en-GB">
                <a:solidFill>
                  <a:srgbClr val="FFFFFF"/>
                </a:solidFill>
              </a:rPr>
              <a:pPr fontAlgn="base">
                <a:spcAft>
                  <a:spcPct val="0"/>
                </a:spcAft>
                <a:defRPr/>
              </a:pPr>
              <a:t>31/01/2017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6" name="Rectangle 24"/>
          <p:cNvSpPr>
            <a:spLocks noGrp="1" noChangeArrowheads="1"/>
          </p:cNvSpPr>
          <p:nvPr>
            <p:ph type="ftr" sz="quarter" idx="11"/>
          </p:nvPr>
        </p:nvSpPr>
        <p:spPr bwMode="auto">
          <a:xfrm>
            <a:off x="3228975" y="6324768"/>
            <a:ext cx="2895600" cy="26987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defRPr sz="1100" baseline="0">
                <a:solidFill>
                  <a:schemeClr val="bg1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en-GB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7" name="Rectangle 25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453188" y="6324768"/>
            <a:ext cx="1905000" cy="2698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48D2197-D1A8-4593-94A3-27CF4D75F1ED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88608367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8DC77B-49C6-4601-9726-BD7B36CE4D5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527003912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706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71E14E-C5D0-4A6D-980A-5E64E2C8B77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93028772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07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A382AE-F3B0-457C-90EA-DBE2302B73A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949151512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BD58AC-E351-46D3-A51D-9DBB2D492E2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4139802265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A1B5BF-453D-4D65-89C8-6EE5F5574AB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876992486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BC5A68-8838-4A01-9CEA-CE63321C94A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349948656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C3BC08-4C0D-4B21-887C-E773815A48D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42951327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07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A382AE-F3B0-457C-90EA-DBE2302B73A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906160497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F2FF8C-9328-445D-A580-EC37F81F351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682094978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9741E8-89F9-4C89-8BAC-C59DC9914DB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419277105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6700" y="92075"/>
            <a:ext cx="2058988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38155" y="92075"/>
            <a:ext cx="602615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86209D-A8F7-4A7A-9586-C5D60A7827D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792496521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Title, 2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39738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39738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3"/>
          </p:nvPr>
        </p:nvSpPr>
        <p:spPr>
          <a:xfrm>
            <a:off x="4633917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8851E6-13AE-4F1C-9037-0028B7910E4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175044489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33917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33917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9FA58C-68C3-4919-AE0B-243C41BD55C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48463162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F2FF8C-9328-445D-A580-EC37F81F351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098870379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71E991-ACE9-42CD-A9FC-438AF80F3DC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62690513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39738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33917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39738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33917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DFD94D-DAE1-4469-8B81-C16D9B9432D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9608463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102046-F5AE-46FC-AF28-000B4377308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336675364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33917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33917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5132CA-22A8-45EC-8600-7F73D462257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125422699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FC4497-A487-45FC-9899-A0F54438E0C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25478339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458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A97C1C5-E76F-4D97-AD26-785B6FA146D5}" type="datetimeFigureOut">
              <a:rPr lang="en-GB" sz="3200" baseline="-25000">
                <a:solidFill>
                  <a:prstClr val="black">
                    <a:tint val="75000"/>
                  </a:prstClr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1/01/2017</a:t>
            </a:fld>
            <a:endParaRPr lang="en-GB" sz="3200" baseline="-25000">
              <a:solidFill>
                <a:prstClr val="black">
                  <a:tint val="75000"/>
                </a:prstClr>
              </a:solidFill>
              <a:cs typeface="Arial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458"/>
            <a:ext cx="2895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3200" baseline="-25000">
              <a:solidFill>
                <a:prstClr val="black">
                  <a:tint val="75000"/>
                </a:prstClr>
              </a:solidFill>
              <a:cs typeface="Arial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0B0C3-911B-481C-AA48-2CF056B011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458407421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BD58AC-E351-46D3-A51D-9DBB2D492E2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635495218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1629" y="1614"/>
          <a:ext cx="1587" cy="1587"/>
        </p:xfrm>
        <a:graphic>
          <a:graphicData uri="http://schemas.openxmlformats.org/presentationml/2006/ole">
            <p:oleObj spid="_x0000_s50192" name="think-cell Slide" r:id="rId4" imgW="270" imgH="270" progId="">
              <p:embed/>
            </p:oleObj>
          </a:graphicData>
        </a:graphic>
      </p:graphicFrame>
      <p:sp>
        <p:nvSpPr>
          <p:cNvPr id="5127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435008" y="5418138"/>
            <a:ext cx="8253413" cy="315912"/>
          </a:xfrm>
        </p:spPr>
        <p:txBody>
          <a:bodyPr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142" name="Rectangle 22"/>
          <p:cNvSpPr>
            <a:spLocks noGrp="1" noChangeArrowheads="1"/>
          </p:cNvSpPr>
          <p:nvPr>
            <p:ph type="ctrTitle"/>
          </p:nvPr>
        </p:nvSpPr>
        <p:spPr>
          <a:xfrm>
            <a:off x="441329" y="4003702"/>
            <a:ext cx="8247063" cy="735013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" name="Rectangle 23"/>
          <p:cNvSpPr>
            <a:spLocks noGrp="1" noChangeArrowheads="1"/>
          </p:cNvSpPr>
          <p:nvPr>
            <p:ph type="dt" sz="half" idx="10"/>
          </p:nvPr>
        </p:nvSpPr>
        <p:spPr bwMode="auto">
          <a:xfrm>
            <a:off x="438155" y="6324768"/>
            <a:ext cx="2281238" cy="26987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defRPr sz="1100" baseline="0">
                <a:solidFill>
                  <a:schemeClr val="bg1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BD7C56E2-EB3E-4265-BCEF-CE87BDF41BB3}" type="datetime1">
              <a:rPr lang="en-GB">
                <a:solidFill>
                  <a:srgbClr val="FFFFFF"/>
                </a:solidFill>
              </a:rPr>
              <a:pPr fontAlgn="base">
                <a:spcAft>
                  <a:spcPct val="0"/>
                </a:spcAft>
                <a:defRPr/>
              </a:pPr>
              <a:t>31/01/2017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6" name="Rectangle 24"/>
          <p:cNvSpPr>
            <a:spLocks noGrp="1" noChangeArrowheads="1"/>
          </p:cNvSpPr>
          <p:nvPr>
            <p:ph type="ftr" sz="quarter" idx="11"/>
          </p:nvPr>
        </p:nvSpPr>
        <p:spPr bwMode="auto">
          <a:xfrm>
            <a:off x="3228975" y="6324768"/>
            <a:ext cx="2895600" cy="26987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defRPr sz="1100" baseline="0">
                <a:solidFill>
                  <a:schemeClr val="bg1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en-GB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7" name="Rectangle 25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453188" y="6324768"/>
            <a:ext cx="1905000" cy="2698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48D2197-D1A8-4593-94A3-27CF4D75F1ED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157544269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8DC77B-49C6-4601-9726-BD7B36CE4D5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606366142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706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71E14E-C5D0-4A6D-980A-5E64E2C8B77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5731316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9741E8-89F9-4C89-8BAC-C59DC9914DB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4074966039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BD58AC-E351-46D3-A51D-9DBB2D492E2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425266116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A1B5BF-453D-4D65-89C8-6EE5F5574AB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065690024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BC5A68-8838-4A01-9CEA-CE63321C94A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17525447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C3BC08-4C0D-4B21-887C-E773815A48D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246507797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07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A382AE-F3B0-457C-90EA-DBE2302B73A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4076322558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F2FF8C-9328-445D-A580-EC37F81F351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380497734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9741E8-89F9-4C89-8BAC-C59DC9914DB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436966162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6700" y="92075"/>
            <a:ext cx="2058988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38155" y="92075"/>
            <a:ext cx="602615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86209D-A8F7-4A7A-9586-C5D60A7827D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49744907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Title, 2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39738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39738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3"/>
          </p:nvPr>
        </p:nvSpPr>
        <p:spPr>
          <a:xfrm>
            <a:off x="4633917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8851E6-13AE-4F1C-9037-0028B7910E4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043994784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33917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33917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9FA58C-68C3-4919-AE0B-243C41BD55C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94342107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6700" y="92075"/>
            <a:ext cx="2058988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38155" y="92075"/>
            <a:ext cx="602615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86209D-A8F7-4A7A-9586-C5D60A7827D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413756265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71E991-ACE9-42CD-A9FC-438AF80F3DC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68967420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39738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33917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39738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33917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DFD94D-DAE1-4469-8B81-C16D9B9432D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842446925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102046-F5AE-46FC-AF28-000B4377308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707388810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33917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33917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5132CA-22A8-45EC-8600-7F73D462257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376428450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FC4497-A487-45FC-9899-A0F54438E0C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62286053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458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A97C1C5-E76F-4D97-AD26-785B6FA146D5}" type="datetimeFigureOut">
              <a:rPr lang="en-GB" sz="3200" baseline="-25000">
                <a:solidFill>
                  <a:prstClr val="black">
                    <a:tint val="75000"/>
                  </a:prstClr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1/01/2017</a:t>
            </a:fld>
            <a:endParaRPr lang="en-GB" sz="3200" baseline="-25000">
              <a:solidFill>
                <a:prstClr val="black">
                  <a:tint val="75000"/>
                </a:prstClr>
              </a:solidFill>
              <a:cs typeface="Arial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458"/>
            <a:ext cx="2895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3200" baseline="-25000">
              <a:solidFill>
                <a:prstClr val="black">
                  <a:tint val="75000"/>
                </a:prstClr>
              </a:solidFill>
              <a:cs typeface="Arial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0B0C3-911B-481C-AA48-2CF056B011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0830347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BD58AC-E351-46D3-A51D-9DBB2D492E2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99177689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434975" y="5418138"/>
            <a:ext cx="8253413" cy="315912"/>
          </a:xfrm>
        </p:spPr>
        <p:txBody>
          <a:bodyPr/>
          <a:lstStyle>
            <a:lvl1pPr marL="0" indent="0">
              <a:buFontTx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/>
              <a:t>Clique para editar o estilo do subtítulo mestre</a:t>
            </a:r>
          </a:p>
        </p:txBody>
      </p:sp>
      <p:sp>
        <p:nvSpPr>
          <p:cNvPr id="6144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41325" y="4003675"/>
            <a:ext cx="8247063" cy="735013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que para editar o estilo do título mestr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38150" y="6324600"/>
            <a:ext cx="2281238" cy="269875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17C074D-5378-4F0C-82CF-3D2F671D288A}" type="datetime1">
              <a:rPr lang="pt-BR">
                <a:solidFill>
                  <a:srgbClr val="FFFFFF"/>
                </a:solidFill>
              </a:rPr>
              <a:pPr>
                <a:defRPr/>
              </a:pPr>
              <a:t>31/01/2017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228975" y="6324600"/>
            <a:ext cx="2895600" cy="269875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Business Area Review –Chicago Jan 2011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453188" y="6324600"/>
            <a:ext cx="1905000" cy="2698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D42F204-B360-4E99-9F45-20B97DFFE3E3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987275243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86E6726-F249-4C1E-B7C9-5E29923B59BB}" type="datetime1">
              <a:rPr lang="pt-BR"/>
              <a:pPr>
                <a:defRPr/>
              </a:pPr>
              <a:t>31/01/2017</a:t>
            </a:fld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E6F9DC-ABEE-4C55-8D19-00AA5741533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Business Area Review –Chicago Jan 2011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186196272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67E2D9-59E5-4A9B-AF7F-3CCDD8E085D4}" type="datetime1">
              <a:rPr lang="pt-BR"/>
              <a:pPr>
                <a:defRPr/>
              </a:pPr>
              <a:t>31/01/2017</a:t>
            </a:fld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BF74FA-5315-4C04-B98F-FA533FDEB52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Business Area Review –Chicago Jan 2011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06767346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Title, 2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39738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39738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3"/>
          </p:nvPr>
        </p:nvSpPr>
        <p:spPr>
          <a:xfrm>
            <a:off x="4633917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8851E6-13AE-4F1C-9037-0028B7910E4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916579431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960563"/>
            <a:ext cx="4041775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3913" y="1960563"/>
            <a:ext cx="4041775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C6E0FA-B110-4DFE-BF5F-9B5B33C618C9}" type="datetime1">
              <a:rPr lang="pt-BR"/>
              <a:pPr>
                <a:defRPr/>
              </a:pPr>
              <a:t>31/01/2017</a:t>
            </a:fld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A0BEA7-B9FE-466C-90F2-D091C2F3E16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Business Area Review –Chicago Jan 2011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4026267565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7CA62B-FB14-4D01-9A2C-8CDC66494717}" type="datetime1">
              <a:rPr lang="pt-BR"/>
              <a:pPr>
                <a:defRPr/>
              </a:pPr>
              <a:t>31/01/2017</a:t>
            </a:fld>
            <a:endParaRPr lang="en-GB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00E5E17-02CD-448D-B549-A524519EB58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Business Area Review –Chicago Jan 2011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240229611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ABAB08-D9AB-4BD8-AE40-57EA8B810E3C}" type="datetime1">
              <a:rPr lang="pt-BR"/>
              <a:pPr>
                <a:defRPr/>
              </a:pPr>
              <a:t>31/01/2017</a:t>
            </a:fld>
            <a:endParaRPr lang="en-GB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314BA5-B5E6-42F2-9015-205EE7FDBCD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Business Area Review –Chicago Jan 2011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656743193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61EDB0-1B9A-4ED9-A189-41C70F687C27}" type="datetime1">
              <a:rPr lang="pt-BR"/>
              <a:pPr>
                <a:defRPr/>
              </a:pPr>
              <a:t>31/01/2017</a:t>
            </a:fld>
            <a:endParaRPr lang="en-GB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48FF69C-7DFE-4017-8744-188EFC23098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Business Area Review –Chicago Jan 2011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345063115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81DA45-5CC7-41C4-A888-5496DC8BF30D}" type="datetime1">
              <a:rPr lang="pt-BR"/>
              <a:pPr>
                <a:defRPr/>
              </a:pPr>
              <a:t>31/01/2017</a:t>
            </a:fld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00D881-A3ED-4361-8235-473B35F0D63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Business Area Review –Chicago Jan 2011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758402074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9BF9005-D042-430D-A16D-0EDB38A54200}" type="datetime1">
              <a:rPr lang="pt-BR"/>
              <a:pPr>
                <a:defRPr/>
              </a:pPr>
              <a:t>31/01/2017</a:t>
            </a:fld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092FBA-2047-4665-B8D9-783BC2F6E12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Business Area Review –Chicago Jan 2011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474167844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F5EBA9-6491-4BD2-8392-3AB274CF1E3C}" type="datetime1">
              <a:rPr lang="pt-BR"/>
              <a:pPr>
                <a:defRPr/>
              </a:pPr>
              <a:t>31/01/2017</a:t>
            </a:fld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8EB0D4-5110-4959-8FDB-9BA4BEC0BDB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Business Area Review –Chicago Jan 2011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346654021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07175" y="112713"/>
            <a:ext cx="2068513" cy="59626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98463" y="112713"/>
            <a:ext cx="6056312" cy="59626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1C4A2F8-DC81-4F45-B760-5FD0622844E5}" type="datetime1">
              <a:rPr lang="pt-BR"/>
              <a:pPr>
                <a:defRPr/>
              </a:pPr>
              <a:t>31/01/2017</a:t>
            </a:fld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C6014A-11F1-4EC6-ACC8-EF168FA5351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Business Area Review –Chicago Jan 2011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075161696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1629" y="1614"/>
          <a:ext cx="1587" cy="1587"/>
        </p:xfrm>
        <a:graphic>
          <a:graphicData uri="http://schemas.openxmlformats.org/presentationml/2006/ole">
            <p:oleObj spid="_x0000_s55310" name="think-cell Slide" r:id="rId4" imgW="270" imgH="270" progId="">
              <p:embed/>
            </p:oleObj>
          </a:graphicData>
        </a:graphic>
      </p:graphicFrame>
      <p:sp>
        <p:nvSpPr>
          <p:cNvPr id="5127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435008" y="5418138"/>
            <a:ext cx="8253413" cy="315912"/>
          </a:xfrm>
        </p:spPr>
        <p:txBody>
          <a:bodyPr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142" name="Rectangle 22"/>
          <p:cNvSpPr>
            <a:spLocks noGrp="1" noChangeArrowheads="1"/>
          </p:cNvSpPr>
          <p:nvPr>
            <p:ph type="ctrTitle"/>
          </p:nvPr>
        </p:nvSpPr>
        <p:spPr>
          <a:xfrm>
            <a:off x="441329" y="4003702"/>
            <a:ext cx="8247063" cy="735013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" name="Rectangle 23"/>
          <p:cNvSpPr>
            <a:spLocks noGrp="1" noChangeArrowheads="1"/>
          </p:cNvSpPr>
          <p:nvPr>
            <p:ph type="dt" sz="half" idx="10"/>
          </p:nvPr>
        </p:nvSpPr>
        <p:spPr bwMode="auto">
          <a:xfrm>
            <a:off x="438155" y="6324768"/>
            <a:ext cx="2281238" cy="26987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defRPr sz="1100" baseline="0">
                <a:solidFill>
                  <a:schemeClr val="bg1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BD7C56E2-EB3E-4265-BCEF-CE87BDF41BB3}" type="datetime1">
              <a:rPr lang="en-GB">
                <a:solidFill>
                  <a:srgbClr val="FFFFFF"/>
                </a:solidFill>
              </a:rPr>
              <a:pPr fontAlgn="base">
                <a:spcAft>
                  <a:spcPct val="0"/>
                </a:spcAft>
                <a:defRPr/>
              </a:pPr>
              <a:t>31/01/2017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6" name="Rectangle 24"/>
          <p:cNvSpPr>
            <a:spLocks noGrp="1" noChangeArrowheads="1"/>
          </p:cNvSpPr>
          <p:nvPr>
            <p:ph type="ftr" sz="quarter" idx="11"/>
          </p:nvPr>
        </p:nvSpPr>
        <p:spPr bwMode="auto">
          <a:xfrm>
            <a:off x="3228975" y="6324768"/>
            <a:ext cx="2895600" cy="26987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defRPr sz="1100" baseline="0">
                <a:solidFill>
                  <a:schemeClr val="bg1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en-GB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7" name="Rectangle 25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453188" y="6324768"/>
            <a:ext cx="1905000" cy="2698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48D2197-D1A8-4593-94A3-27CF4D75F1ED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553707070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8DC77B-49C6-4601-9726-BD7B36CE4D5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86472228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33917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33917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9FA58C-68C3-4919-AE0B-243C41BD55C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244179207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706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71E14E-C5D0-4A6D-980A-5E64E2C8B77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973878286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BD58AC-E351-46D3-A51D-9DBB2D492E2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297906706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A1B5BF-453D-4D65-89C8-6EE5F5574AB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659474836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BC5A68-8838-4A01-9CEA-CE63321C94A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946410954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C3BC08-4C0D-4B21-887C-E773815A48D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712677638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07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A382AE-F3B0-457C-90EA-DBE2302B73A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914939031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F2FF8C-9328-445D-A580-EC37F81F351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152528572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9741E8-89F9-4C89-8BAC-C59DC9914DB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495617365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6700" y="92075"/>
            <a:ext cx="2058988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38155" y="92075"/>
            <a:ext cx="602615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86209D-A8F7-4A7A-9586-C5D60A7827D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172019566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Title, 2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39738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39738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3"/>
          </p:nvPr>
        </p:nvSpPr>
        <p:spPr>
          <a:xfrm>
            <a:off x="4633917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8851E6-13AE-4F1C-9037-0028B7910E4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596169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708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00E88FD-455C-4971-B622-9AD6A956C7A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26613155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71E991-ACE9-42CD-A9FC-438AF80F3DC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418980939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33917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33917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9FA58C-68C3-4919-AE0B-243C41BD55C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160113089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71E991-ACE9-42CD-A9FC-438AF80F3DC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025188961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39738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33917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39738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33917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DFD94D-DAE1-4469-8B81-C16D9B9432D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09427481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102046-F5AE-46FC-AF28-000B4377308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007548230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33917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33917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5132CA-22A8-45EC-8600-7F73D462257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626783581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FC4497-A487-45FC-9899-A0F54438E0C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269779685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458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A97C1C5-E76F-4D97-AD26-785B6FA146D5}" type="datetimeFigureOut">
              <a:rPr lang="en-GB" sz="3200" baseline="-25000">
                <a:solidFill>
                  <a:prstClr val="black">
                    <a:tint val="75000"/>
                  </a:prstClr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1/01/2017</a:t>
            </a:fld>
            <a:endParaRPr lang="en-GB" sz="3200" baseline="-25000">
              <a:solidFill>
                <a:prstClr val="black">
                  <a:tint val="75000"/>
                </a:prstClr>
              </a:solidFill>
              <a:cs typeface="Arial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458"/>
            <a:ext cx="2895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3200" baseline="-25000">
              <a:solidFill>
                <a:prstClr val="black">
                  <a:tint val="75000"/>
                </a:prstClr>
              </a:solidFill>
              <a:cs typeface="Arial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0B0C3-911B-481C-AA48-2CF056B011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162843837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BD58AC-E351-46D3-A51D-9DBB2D492E2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138856388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1629" y="1614"/>
          <a:ext cx="1587" cy="1587"/>
        </p:xfrm>
        <a:graphic>
          <a:graphicData uri="http://schemas.openxmlformats.org/presentationml/2006/ole">
            <p:oleObj spid="_x0000_s59402" name="think-cell Slide" r:id="rId4" imgW="270" imgH="270" progId="">
              <p:embed/>
            </p:oleObj>
          </a:graphicData>
        </a:graphic>
      </p:graphicFrame>
      <p:sp>
        <p:nvSpPr>
          <p:cNvPr id="5127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435008" y="5418138"/>
            <a:ext cx="8253413" cy="315912"/>
          </a:xfrm>
        </p:spPr>
        <p:txBody>
          <a:bodyPr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142" name="Rectangle 22"/>
          <p:cNvSpPr>
            <a:spLocks noGrp="1" noChangeArrowheads="1"/>
          </p:cNvSpPr>
          <p:nvPr>
            <p:ph type="ctrTitle"/>
          </p:nvPr>
        </p:nvSpPr>
        <p:spPr>
          <a:xfrm>
            <a:off x="441329" y="4003702"/>
            <a:ext cx="8247063" cy="735013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" name="Rectangle 23"/>
          <p:cNvSpPr>
            <a:spLocks noGrp="1" noChangeArrowheads="1"/>
          </p:cNvSpPr>
          <p:nvPr>
            <p:ph type="dt" sz="half" idx="10"/>
          </p:nvPr>
        </p:nvSpPr>
        <p:spPr bwMode="auto">
          <a:xfrm>
            <a:off x="438155" y="6324768"/>
            <a:ext cx="2281238" cy="26987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defRPr sz="1100" baseline="0">
                <a:solidFill>
                  <a:schemeClr val="bg1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BD7C56E2-EB3E-4265-BCEF-CE87BDF41BB3}" type="datetime1">
              <a:rPr lang="en-GB">
                <a:solidFill>
                  <a:srgbClr val="FFFFFF"/>
                </a:solidFill>
              </a:rPr>
              <a:pPr fontAlgn="base">
                <a:spcAft>
                  <a:spcPct val="0"/>
                </a:spcAft>
                <a:defRPr/>
              </a:pPr>
              <a:t>31/01/2017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6" name="Rectangle 24"/>
          <p:cNvSpPr>
            <a:spLocks noGrp="1" noChangeArrowheads="1"/>
          </p:cNvSpPr>
          <p:nvPr>
            <p:ph type="ftr" sz="quarter" idx="11"/>
          </p:nvPr>
        </p:nvSpPr>
        <p:spPr bwMode="auto">
          <a:xfrm>
            <a:off x="3228975" y="6324768"/>
            <a:ext cx="2895600" cy="26987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defRPr sz="1100" baseline="0">
                <a:solidFill>
                  <a:schemeClr val="bg1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en-GB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7" name="Rectangle 25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453188" y="6324768"/>
            <a:ext cx="1905000" cy="2698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48D2197-D1A8-4593-94A3-27CF4D75F1ED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756190852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8DC77B-49C6-4601-9726-BD7B36CE4D5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33071956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39738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33917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39738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33917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DFD94D-DAE1-4469-8B81-C16D9B9432D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159838539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706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71E14E-C5D0-4A6D-980A-5E64E2C8B77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467204359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BD58AC-E351-46D3-A51D-9DBB2D492E2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576995407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A1B5BF-453D-4D65-89C8-6EE5F5574AB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195048380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BC5A68-8838-4A01-9CEA-CE63321C94A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903096560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C3BC08-4C0D-4B21-887C-E773815A48D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763642966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07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A382AE-F3B0-457C-90EA-DBE2302B73A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380779379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F2FF8C-9328-445D-A580-EC37F81F351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957257309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9741E8-89F9-4C89-8BAC-C59DC9914DB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666287400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6700" y="92075"/>
            <a:ext cx="2058988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38155" y="92075"/>
            <a:ext cx="602615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86209D-A8F7-4A7A-9586-C5D60A7827D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556691404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Title, 2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39738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39738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3"/>
          </p:nvPr>
        </p:nvSpPr>
        <p:spPr>
          <a:xfrm>
            <a:off x="4633917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8851E6-13AE-4F1C-9037-0028B7910E4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58361757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102046-F5AE-46FC-AF28-000B4377308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4120315081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33917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33917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9FA58C-68C3-4919-AE0B-243C41BD55C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980401047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71E991-ACE9-42CD-A9FC-438AF80F3DC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006151718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39738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33917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39738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33917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DFD94D-DAE1-4469-8B81-C16D9B9432D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366284753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102046-F5AE-46FC-AF28-000B4377308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618471700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33917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33917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5132CA-22A8-45EC-8600-7F73D462257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665347810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FC4497-A487-45FC-9899-A0F54438E0C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810097748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458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A97C1C5-E76F-4D97-AD26-785B6FA146D5}" type="datetimeFigureOut">
              <a:rPr lang="en-GB" sz="3200" baseline="-25000">
                <a:solidFill>
                  <a:prstClr val="black">
                    <a:tint val="75000"/>
                  </a:prstClr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1/01/2017</a:t>
            </a:fld>
            <a:endParaRPr lang="en-GB" sz="3200" baseline="-25000">
              <a:solidFill>
                <a:prstClr val="black">
                  <a:tint val="75000"/>
                </a:prstClr>
              </a:solidFill>
              <a:cs typeface="Arial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458"/>
            <a:ext cx="2895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3200" baseline="-25000">
              <a:solidFill>
                <a:prstClr val="black">
                  <a:tint val="75000"/>
                </a:prstClr>
              </a:solidFill>
              <a:cs typeface="Arial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0B0C3-911B-481C-AA48-2CF056B011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531969380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BD58AC-E351-46D3-A51D-9DBB2D492E2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97498271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33917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33917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5132CA-22A8-45EC-8600-7F73D462257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42340643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FC4497-A487-45FC-9899-A0F54438E0C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77491220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458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A97C1C5-E76F-4D97-AD26-785B6FA146D5}" type="datetimeFigureOut">
              <a:rPr lang="en-GB" sz="3200" baseline="-25000">
                <a:solidFill>
                  <a:prstClr val="black">
                    <a:tint val="75000"/>
                  </a:prstClr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1/01/2017</a:t>
            </a:fld>
            <a:endParaRPr lang="en-GB" sz="3200" baseline="-25000">
              <a:solidFill>
                <a:prstClr val="black">
                  <a:tint val="75000"/>
                </a:prstClr>
              </a:solidFill>
              <a:cs typeface="Arial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458"/>
            <a:ext cx="2895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3200" baseline="-25000">
              <a:solidFill>
                <a:prstClr val="black">
                  <a:tint val="75000"/>
                </a:prstClr>
              </a:solidFill>
              <a:cs typeface="Arial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0B0C3-911B-481C-AA48-2CF056B011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67045437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BD58AC-E351-46D3-A51D-9DBB2D492E2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77057316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1629" y="1614"/>
          <a:ext cx="1587" cy="1587"/>
        </p:xfrm>
        <a:graphic>
          <a:graphicData uri="http://schemas.openxmlformats.org/presentationml/2006/ole">
            <p:oleObj spid="_x0000_s14352" name="think-cell Slide" r:id="rId4" imgW="270" imgH="270" progId="">
              <p:embed/>
            </p:oleObj>
          </a:graphicData>
        </a:graphic>
      </p:graphicFrame>
      <p:sp>
        <p:nvSpPr>
          <p:cNvPr id="5127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435008" y="5418138"/>
            <a:ext cx="8253413" cy="315912"/>
          </a:xfrm>
        </p:spPr>
        <p:txBody>
          <a:bodyPr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142" name="Rectangle 22"/>
          <p:cNvSpPr>
            <a:spLocks noGrp="1" noChangeArrowheads="1"/>
          </p:cNvSpPr>
          <p:nvPr>
            <p:ph type="ctrTitle"/>
          </p:nvPr>
        </p:nvSpPr>
        <p:spPr>
          <a:xfrm>
            <a:off x="441329" y="4003702"/>
            <a:ext cx="8247063" cy="735013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" name="Rectangle 23"/>
          <p:cNvSpPr>
            <a:spLocks noGrp="1" noChangeArrowheads="1"/>
          </p:cNvSpPr>
          <p:nvPr>
            <p:ph type="dt" sz="half" idx="10"/>
          </p:nvPr>
        </p:nvSpPr>
        <p:spPr bwMode="auto">
          <a:xfrm>
            <a:off x="438155" y="6324768"/>
            <a:ext cx="2281238" cy="26987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defRPr sz="1100" baseline="0">
                <a:solidFill>
                  <a:schemeClr val="bg1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BD7C56E2-EB3E-4265-BCEF-CE87BDF41BB3}" type="datetime1">
              <a:rPr lang="en-GB">
                <a:solidFill>
                  <a:srgbClr val="FFFFFF"/>
                </a:solidFill>
              </a:rPr>
              <a:pPr fontAlgn="base">
                <a:spcAft>
                  <a:spcPct val="0"/>
                </a:spcAft>
                <a:defRPr/>
              </a:pPr>
              <a:t>31/01/2017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6" name="Rectangle 24"/>
          <p:cNvSpPr>
            <a:spLocks noGrp="1" noChangeArrowheads="1"/>
          </p:cNvSpPr>
          <p:nvPr>
            <p:ph type="ftr" sz="quarter" idx="11"/>
          </p:nvPr>
        </p:nvSpPr>
        <p:spPr bwMode="auto">
          <a:xfrm>
            <a:off x="3228975" y="6324768"/>
            <a:ext cx="2895600" cy="26987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defRPr sz="1100" baseline="0">
                <a:solidFill>
                  <a:schemeClr val="bg1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en-GB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7" name="Rectangle 25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453188" y="6324768"/>
            <a:ext cx="1905000" cy="2698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48D2197-D1A8-4593-94A3-27CF4D75F1ED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75250264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8DC77B-49C6-4601-9726-BD7B36CE4D5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400062959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706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71E14E-C5D0-4A6D-980A-5E64E2C8B77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3368179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960563"/>
            <a:ext cx="4041775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3917" y="1960563"/>
            <a:ext cx="4041775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69644F-3AC0-4189-BFE6-02774E1E25B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57315110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BD58AC-E351-46D3-A51D-9DBB2D492E2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32868204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A1B5BF-453D-4D65-89C8-6EE5F5574AB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7094029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BC5A68-8838-4A01-9CEA-CE63321C94A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0639947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C3BC08-4C0D-4B21-887C-E773815A48D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47971870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07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A382AE-F3B0-457C-90EA-DBE2302B73A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57960857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F2FF8C-9328-445D-A580-EC37F81F351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6977621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9741E8-89F9-4C89-8BAC-C59DC9914DB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1407348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6700" y="92075"/>
            <a:ext cx="2058988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38155" y="92075"/>
            <a:ext cx="602615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86209D-A8F7-4A7A-9586-C5D60A7827D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21860353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Title, 2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39738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39738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3"/>
          </p:nvPr>
        </p:nvSpPr>
        <p:spPr>
          <a:xfrm>
            <a:off x="4633917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8851E6-13AE-4F1C-9037-0028B7910E4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57765332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33917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33917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9FA58C-68C3-4919-AE0B-243C41BD55C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8161935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56394F-25B6-430A-93A8-7D2EEF0E43F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4878419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71E991-ACE9-42CD-A9FC-438AF80F3DC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14992237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39738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33917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39738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33917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DFD94D-DAE1-4469-8B81-C16D9B9432D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30456715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102046-F5AE-46FC-AF28-000B4377308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37378970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33917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33917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5132CA-22A8-45EC-8600-7F73D462257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52644150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FC4497-A487-45FC-9899-A0F54438E0C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69713139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458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A97C1C5-E76F-4D97-AD26-785B6FA146D5}" type="datetimeFigureOut">
              <a:rPr lang="en-GB" sz="3200" baseline="-25000">
                <a:solidFill>
                  <a:prstClr val="black">
                    <a:tint val="75000"/>
                  </a:prstClr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1/01/2017</a:t>
            </a:fld>
            <a:endParaRPr lang="en-GB" sz="3200" baseline="-25000">
              <a:solidFill>
                <a:prstClr val="black">
                  <a:tint val="75000"/>
                </a:prstClr>
              </a:solidFill>
              <a:cs typeface="Arial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458"/>
            <a:ext cx="2895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3200" baseline="-25000">
              <a:solidFill>
                <a:prstClr val="black">
                  <a:tint val="75000"/>
                </a:prstClr>
              </a:solidFill>
              <a:cs typeface="Arial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0B0C3-911B-481C-AA48-2CF056B011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60948894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BD58AC-E351-46D3-A51D-9DBB2D492E2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52180180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1629" y="1614"/>
          <a:ext cx="1587" cy="1587"/>
        </p:xfrm>
        <a:graphic>
          <a:graphicData uri="http://schemas.openxmlformats.org/presentationml/2006/ole">
            <p:oleObj spid="_x0000_s16400" name="think-cell Slide" r:id="rId4" imgW="270" imgH="270" progId="">
              <p:embed/>
            </p:oleObj>
          </a:graphicData>
        </a:graphic>
      </p:graphicFrame>
      <p:sp>
        <p:nvSpPr>
          <p:cNvPr id="5127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435008" y="5418138"/>
            <a:ext cx="8253413" cy="315912"/>
          </a:xfrm>
        </p:spPr>
        <p:txBody>
          <a:bodyPr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142" name="Rectangle 22"/>
          <p:cNvSpPr>
            <a:spLocks noGrp="1" noChangeArrowheads="1"/>
          </p:cNvSpPr>
          <p:nvPr>
            <p:ph type="ctrTitle"/>
          </p:nvPr>
        </p:nvSpPr>
        <p:spPr>
          <a:xfrm>
            <a:off x="441329" y="4003702"/>
            <a:ext cx="8247063" cy="735013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" name="Rectangle 23"/>
          <p:cNvSpPr>
            <a:spLocks noGrp="1" noChangeArrowheads="1"/>
          </p:cNvSpPr>
          <p:nvPr>
            <p:ph type="dt" sz="half" idx="10"/>
          </p:nvPr>
        </p:nvSpPr>
        <p:spPr bwMode="auto">
          <a:xfrm>
            <a:off x="438155" y="6324768"/>
            <a:ext cx="2281238" cy="26987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defRPr sz="1100" baseline="0">
                <a:solidFill>
                  <a:schemeClr val="bg1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BD7C56E2-EB3E-4265-BCEF-CE87BDF41BB3}" type="datetime1">
              <a:rPr lang="en-GB">
                <a:solidFill>
                  <a:srgbClr val="FFFFFF"/>
                </a:solidFill>
              </a:rPr>
              <a:pPr fontAlgn="base">
                <a:spcAft>
                  <a:spcPct val="0"/>
                </a:spcAft>
                <a:defRPr/>
              </a:pPr>
              <a:t>31/01/2017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6" name="Rectangle 24"/>
          <p:cNvSpPr>
            <a:spLocks noGrp="1" noChangeArrowheads="1"/>
          </p:cNvSpPr>
          <p:nvPr>
            <p:ph type="ftr" sz="quarter" idx="11"/>
          </p:nvPr>
        </p:nvSpPr>
        <p:spPr bwMode="auto">
          <a:xfrm>
            <a:off x="3228975" y="6324768"/>
            <a:ext cx="2895600" cy="26987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defRPr sz="1100" baseline="0">
                <a:solidFill>
                  <a:schemeClr val="bg1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en-GB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7" name="Rectangle 25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453188" y="6324768"/>
            <a:ext cx="1905000" cy="2698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48D2197-D1A8-4593-94A3-27CF4D75F1ED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07161975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8DC77B-49C6-4601-9726-BD7B36CE4D5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48762463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706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71E14E-C5D0-4A6D-980A-5E64E2C8B77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1878756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4962C72-EB1C-4C78-9C47-FFBD9BB3151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53058622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BD58AC-E351-46D3-A51D-9DBB2D492E2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04619985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A1B5BF-453D-4D65-89C8-6EE5F5574AB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50392534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BC5A68-8838-4A01-9CEA-CE63321C94A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98721942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C3BC08-4C0D-4B21-887C-E773815A48D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88044272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07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A382AE-F3B0-457C-90EA-DBE2302B73A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13900951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F2FF8C-9328-445D-A580-EC37F81F351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00997454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9741E8-89F9-4C89-8BAC-C59DC9914DB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53389104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6700" y="92075"/>
            <a:ext cx="2058988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38155" y="92075"/>
            <a:ext cx="602615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86209D-A8F7-4A7A-9586-C5D60A7827D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15638987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Title, 2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39738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39738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3"/>
          </p:nvPr>
        </p:nvSpPr>
        <p:spPr>
          <a:xfrm>
            <a:off x="4633917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8851E6-13AE-4F1C-9037-0028B7910E4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26893324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33917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33917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9FA58C-68C3-4919-AE0B-243C41BD55C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6553987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EC1605-7F84-42B1-A37C-388EB1C08B2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12302804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71E991-ACE9-42CD-A9FC-438AF80F3DC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70791960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39738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33917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39738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33917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DFD94D-DAE1-4469-8B81-C16D9B9432D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22850316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102046-F5AE-46FC-AF28-000B4377308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40681345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33917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33917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5132CA-22A8-45EC-8600-7F73D462257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1693498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FC4497-A487-45FC-9899-A0F54438E0C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52508462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458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A97C1C5-E76F-4D97-AD26-785B6FA146D5}" type="datetimeFigureOut">
              <a:rPr lang="en-GB" sz="3200" baseline="-25000">
                <a:solidFill>
                  <a:prstClr val="black">
                    <a:tint val="75000"/>
                  </a:prstClr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1/01/2017</a:t>
            </a:fld>
            <a:endParaRPr lang="en-GB" sz="3200" baseline="-25000">
              <a:solidFill>
                <a:prstClr val="black">
                  <a:tint val="75000"/>
                </a:prstClr>
              </a:solidFill>
              <a:cs typeface="Arial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458"/>
            <a:ext cx="2895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3200" baseline="-25000">
              <a:solidFill>
                <a:prstClr val="black">
                  <a:tint val="75000"/>
                </a:prstClr>
              </a:solidFill>
              <a:cs typeface="Arial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0B0C3-911B-481C-AA48-2CF056B011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034016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BD58AC-E351-46D3-A51D-9DBB2D492E2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33512517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1629" y="1614"/>
          <a:ext cx="1587" cy="1587"/>
        </p:xfrm>
        <a:graphic>
          <a:graphicData uri="http://schemas.openxmlformats.org/presentationml/2006/ole">
            <p:oleObj spid="_x0000_s19472" name="think-cell Slide" r:id="rId4" imgW="270" imgH="270" progId="">
              <p:embed/>
            </p:oleObj>
          </a:graphicData>
        </a:graphic>
      </p:graphicFrame>
      <p:sp>
        <p:nvSpPr>
          <p:cNvPr id="5127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435008" y="5418138"/>
            <a:ext cx="8253413" cy="315912"/>
          </a:xfrm>
        </p:spPr>
        <p:txBody>
          <a:bodyPr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142" name="Rectangle 22"/>
          <p:cNvSpPr>
            <a:spLocks noGrp="1" noChangeArrowheads="1"/>
          </p:cNvSpPr>
          <p:nvPr>
            <p:ph type="ctrTitle"/>
          </p:nvPr>
        </p:nvSpPr>
        <p:spPr>
          <a:xfrm>
            <a:off x="441329" y="4003702"/>
            <a:ext cx="8247063" cy="735013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" name="Rectangle 23"/>
          <p:cNvSpPr>
            <a:spLocks noGrp="1" noChangeArrowheads="1"/>
          </p:cNvSpPr>
          <p:nvPr>
            <p:ph type="dt" sz="half" idx="10"/>
          </p:nvPr>
        </p:nvSpPr>
        <p:spPr bwMode="auto">
          <a:xfrm>
            <a:off x="438155" y="6324768"/>
            <a:ext cx="2281238" cy="26987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defRPr sz="1100" baseline="0">
                <a:solidFill>
                  <a:schemeClr val="bg1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BD7C56E2-EB3E-4265-BCEF-CE87BDF41BB3}" type="datetime1">
              <a:rPr lang="en-GB">
                <a:solidFill>
                  <a:srgbClr val="FFFFFF"/>
                </a:solidFill>
              </a:rPr>
              <a:pPr fontAlgn="base">
                <a:spcAft>
                  <a:spcPct val="0"/>
                </a:spcAft>
                <a:defRPr/>
              </a:pPr>
              <a:t>31/01/2017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6" name="Rectangle 24"/>
          <p:cNvSpPr>
            <a:spLocks noGrp="1" noChangeArrowheads="1"/>
          </p:cNvSpPr>
          <p:nvPr>
            <p:ph type="ftr" sz="quarter" idx="11"/>
          </p:nvPr>
        </p:nvSpPr>
        <p:spPr bwMode="auto">
          <a:xfrm>
            <a:off x="3228975" y="6324768"/>
            <a:ext cx="2895600" cy="26987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defRPr sz="1100" baseline="0">
                <a:solidFill>
                  <a:schemeClr val="bg1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en-GB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7" name="Rectangle 25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453188" y="6324768"/>
            <a:ext cx="1905000" cy="2698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48D2197-D1A8-4593-94A3-27CF4D75F1ED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9470452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8DC77B-49C6-4601-9726-BD7B36CE4D5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04803019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706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71E14E-C5D0-4A6D-980A-5E64E2C8B77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5374613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17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0D1FD12-6A3D-4365-8EF0-AF65D3FE367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11313040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BD58AC-E351-46D3-A51D-9DBB2D492E2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402750089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A1B5BF-453D-4D65-89C8-6EE5F5574AB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74811763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BC5A68-8838-4A01-9CEA-CE63321C94A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90843848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C3BC08-4C0D-4B21-887C-E773815A48D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400632078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07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A382AE-F3B0-457C-90EA-DBE2302B73A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37918181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F2FF8C-9328-445D-A580-EC37F81F351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18351641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9741E8-89F9-4C89-8BAC-C59DC9914DB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75389718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6700" y="92075"/>
            <a:ext cx="2058988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38155" y="92075"/>
            <a:ext cx="602615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86209D-A8F7-4A7A-9586-C5D60A7827D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62075357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Title, 2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39738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39738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3"/>
          </p:nvPr>
        </p:nvSpPr>
        <p:spPr>
          <a:xfrm>
            <a:off x="4633917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8851E6-13AE-4F1C-9037-0028B7910E4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71624740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33917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33917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9FA58C-68C3-4919-AE0B-243C41BD55C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0741376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473325-C141-4554-BB94-42147D8761B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07147449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71E991-ACE9-42CD-A9FC-438AF80F3DC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32989429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39738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33917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39738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33917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DFD94D-DAE1-4469-8B81-C16D9B9432D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403321788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102046-F5AE-46FC-AF28-000B4377308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62523274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92077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33917" y="1122388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33917" y="3589364"/>
            <a:ext cx="4041775" cy="2314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5132CA-22A8-45EC-8600-7F73D462257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79446461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FC4497-A487-45FC-9899-A0F54438E0C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65594897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458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A97C1C5-E76F-4D97-AD26-785B6FA146D5}" type="datetimeFigureOut">
              <a:rPr lang="en-GB" sz="3200" baseline="-25000">
                <a:solidFill>
                  <a:prstClr val="black">
                    <a:tint val="75000"/>
                  </a:prstClr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1/01/2017</a:t>
            </a:fld>
            <a:endParaRPr lang="en-GB" sz="3200" baseline="-25000">
              <a:solidFill>
                <a:prstClr val="black">
                  <a:tint val="75000"/>
                </a:prstClr>
              </a:solidFill>
              <a:cs typeface="Arial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458"/>
            <a:ext cx="2895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3200" baseline="-25000">
              <a:solidFill>
                <a:prstClr val="black">
                  <a:tint val="75000"/>
                </a:prstClr>
              </a:solidFill>
              <a:cs typeface="Arial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0B0C3-911B-481C-AA48-2CF056B011A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3614947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3917" y="1122363"/>
            <a:ext cx="4041775" cy="4781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BD58AC-E351-46D3-A51D-9DBB2D492E2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401421928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1629" y="1614"/>
          <a:ext cx="1587" cy="1587"/>
        </p:xfrm>
        <a:graphic>
          <a:graphicData uri="http://schemas.openxmlformats.org/presentationml/2006/ole">
            <p:oleObj spid="_x0000_s25616" name="think-cell Slide" r:id="rId4" imgW="270" imgH="270" progId="">
              <p:embed/>
            </p:oleObj>
          </a:graphicData>
        </a:graphic>
      </p:graphicFrame>
      <p:sp>
        <p:nvSpPr>
          <p:cNvPr id="5127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435008" y="5418138"/>
            <a:ext cx="8253413" cy="315912"/>
          </a:xfrm>
        </p:spPr>
        <p:txBody>
          <a:bodyPr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5142" name="Rectangle 22"/>
          <p:cNvSpPr>
            <a:spLocks noGrp="1" noChangeArrowheads="1"/>
          </p:cNvSpPr>
          <p:nvPr>
            <p:ph type="ctrTitle"/>
          </p:nvPr>
        </p:nvSpPr>
        <p:spPr>
          <a:xfrm>
            <a:off x="441329" y="4003702"/>
            <a:ext cx="8247063" cy="735013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" name="Rectangle 23"/>
          <p:cNvSpPr>
            <a:spLocks noGrp="1" noChangeArrowheads="1"/>
          </p:cNvSpPr>
          <p:nvPr>
            <p:ph type="dt" sz="half" idx="10"/>
          </p:nvPr>
        </p:nvSpPr>
        <p:spPr bwMode="auto">
          <a:xfrm>
            <a:off x="438155" y="6324768"/>
            <a:ext cx="2281238" cy="26987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defRPr sz="1100" baseline="0">
                <a:solidFill>
                  <a:schemeClr val="bg1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BD7C56E2-EB3E-4265-BCEF-CE87BDF41BB3}" type="datetime1">
              <a:rPr lang="en-GB">
                <a:solidFill>
                  <a:srgbClr val="FFFFFF"/>
                </a:solidFill>
              </a:rPr>
              <a:pPr fontAlgn="base">
                <a:spcAft>
                  <a:spcPct val="0"/>
                </a:spcAft>
                <a:defRPr/>
              </a:pPr>
              <a:t>31/01/2017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6" name="Rectangle 24"/>
          <p:cNvSpPr>
            <a:spLocks noGrp="1" noChangeArrowheads="1"/>
          </p:cNvSpPr>
          <p:nvPr>
            <p:ph type="ftr" sz="quarter" idx="11"/>
          </p:nvPr>
        </p:nvSpPr>
        <p:spPr bwMode="auto">
          <a:xfrm>
            <a:off x="3228975" y="6324768"/>
            <a:ext cx="2895600" cy="26987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defRPr sz="1100" baseline="0">
                <a:solidFill>
                  <a:schemeClr val="bg1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en-GB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7" name="Rectangle 25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453188" y="6324768"/>
            <a:ext cx="1905000" cy="2698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48D2197-D1A8-4593-94A3-27CF4D75F1ED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1871987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8DC77B-49C6-4601-9726-BD7B36CE4D5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97990450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706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71E14E-C5D0-4A6D-980A-5E64E2C8B77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9041299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4.xml"/><Relationship Id="rId13" Type="http://schemas.openxmlformats.org/officeDocument/2006/relationships/slideLayout" Target="../slideLayouts/slideLayout189.xml"/><Relationship Id="rId18" Type="http://schemas.openxmlformats.org/officeDocument/2006/relationships/slideLayout" Target="../slideLayouts/slideLayout194.xml"/><Relationship Id="rId3" Type="http://schemas.openxmlformats.org/officeDocument/2006/relationships/slideLayout" Target="../slideLayouts/slideLayout179.xml"/><Relationship Id="rId21" Type="http://schemas.openxmlformats.org/officeDocument/2006/relationships/theme" Target="../theme/theme10.xml"/><Relationship Id="rId7" Type="http://schemas.openxmlformats.org/officeDocument/2006/relationships/slideLayout" Target="../slideLayouts/slideLayout183.xml"/><Relationship Id="rId12" Type="http://schemas.openxmlformats.org/officeDocument/2006/relationships/slideLayout" Target="../slideLayouts/slideLayout188.xml"/><Relationship Id="rId17" Type="http://schemas.openxmlformats.org/officeDocument/2006/relationships/slideLayout" Target="../slideLayouts/slideLayout193.xml"/><Relationship Id="rId2" Type="http://schemas.openxmlformats.org/officeDocument/2006/relationships/slideLayout" Target="../slideLayouts/slideLayout178.xml"/><Relationship Id="rId16" Type="http://schemas.openxmlformats.org/officeDocument/2006/relationships/slideLayout" Target="../slideLayouts/slideLayout192.xml"/><Relationship Id="rId20" Type="http://schemas.openxmlformats.org/officeDocument/2006/relationships/slideLayout" Target="../slideLayouts/slideLayout196.xml"/><Relationship Id="rId1" Type="http://schemas.openxmlformats.org/officeDocument/2006/relationships/slideLayout" Target="../slideLayouts/slideLayout177.xml"/><Relationship Id="rId6" Type="http://schemas.openxmlformats.org/officeDocument/2006/relationships/slideLayout" Target="../slideLayouts/slideLayout182.xml"/><Relationship Id="rId11" Type="http://schemas.openxmlformats.org/officeDocument/2006/relationships/slideLayout" Target="../slideLayouts/slideLayout187.xml"/><Relationship Id="rId24" Type="http://schemas.openxmlformats.org/officeDocument/2006/relationships/oleObject" Target="../embeddings/oleObject18.bin"/><Relationship Id="rId5" Type="http://schemas.openxmlformats.org/officeDocument/2006/relationships/slideLayout" Target="../slideLayouts/slideLayout181.xml"/><Relationship Id="rId15" Type="http://schemas.openxmlformats.org/officeDocument/2006/relationships/slideLayout" Target="../slideLayouts/slideLayout191.xml"/><Relationship Id="rId23" Type="http://schemas.openxmlformats.org/officeDocument/2006/relationships/image" Target="../media/image4.png"/><Relationship Id="rId10" Type="http://schemas.openxmlformats.org/officeDocument/2006/relationships/slideLayout" Target="../slideLayouts/slideLayout186.xml"/><Relationship Id="rId19" Type="http://schemas.openxmlformats.org/officeDocument/2006/relationships/slideLayout" Target="../slideLayouts/slideLayout195.xml"/><Relationship Id="rId4" Type="http://schemas.openxmlformats.org/officeDocument/2006/relationships/slideLayout" Target="../slideLayouts/slideLayout180.xml"/><Relationship Id="rId9" Type="http://schemas.openxmlformats.org/officeDocument/2006/relationships/slideLayout" Target="../slideLayouts/slideLayout185.xml"/><Relationship Id="rId14" Type="http://schemas.openxmlformats.org/officeDocument/2006/relationships/slideLayout" Target="../slideLayouts/slideLayout190.xml"/><Relationship Id="rId22" Type="http://schemas.openxmlformats.org/officeDocument/2006/relationships/vmlDrawing" Target="../drawings/vmlDrawing18.v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4.xml"/><Relationship Id="rId13" Type="http://schemas.openxmlformats.org/officeDocument/2006/relationships/slideLayout" Target="../slideLayouts/slideLayout209.xml"/><Relationship Id="rId18" Type="http://schemas.openxmlformats.org/officeDocument/2006/relationships/slideLayout" Target="../slideLayouts/slideLayout214.xml"/><Relationship Id="rId3" Type="http://schemas.openxmlformats.org/officeDocument/2006/relationships/slideLayout" Target="../slideLayouts/slideLayout199.xml"/><Relationship Id="rId21" Type="http://schemas.openxmlformats.org/officeDocument/2006/relationships/theme" Target="../theme/theme11.xml"/><Relationship Id="rId7" Type="http://schemas.openxmlformats.org/officeDocument/2006/relationships/slideLayout" Target="../slideLayouts/slideLayout203.xml"/><Relationship Id="rId12" Type="http://schemas.openxmlformats.org/officeDocument/2006/relationships/slideLayout" Target="../slideLayouts/slideLayout208.xml"/><Relationship Id="rId17" Type="http://schemas.openxmlformats.org/officeDocument/2006/relationships/slideLayout" Target="../slideLayouts/slideLayout213.xml"/><Relationship Id="rId2" Type="http://schemas.openxmlformats.org/officeDocument/2006/relationships/slideLayout" Target="../slideLayouts/slideLayout198.xml"/><Relationship Id="rId16" Type="http://schemas.openxmlformats.org/officeDocument/2006/relationships/slideLayout" Target="../slideLayouts/slideLayout212.xml"/><Relationship Id="rId20" Type="http://schemas.openxmlformats.org/officeDocument/2006/relationships/slideLayout" Target="../slideLayouts/slideLayout216.xml"/><Relationship Id="rId1" Type="http://schemas.openxmlformats.org/officeDocument/2006/relationships/slideLayout" Target="../slideLayouts/slideLayout197.xml"/><Relationship Id="rId6" Type="http://schemas.openxmlformats.org/officeDocument/2006/relationships/slideLayout" Target="../slideLayouts/slideLayout202.xml"/><Relationship Id="rId11" Type="http://schemas.openxmlformats.org/officeDocument/2006/relationships/slideLayout" Target="../slideLayouts/slideLayout207.xml"/><Relationship Id="rId24" Type="http://schemas.openxmlformats.org/officeDocument/2006/relationships/oleObject" Target="../embeddings/oleObject20.bin"/><Relationship Id="rId5" Type="http://schemas.openxmlformats.org/officeDocument/2006/relationships/slideLayout" Target="../slideLayouts/slideLayout201.xml"/><Relationship Id="rId15" Type="http://schemas.openxmlformats.org/officeDocument/2006/relationships/slideLayout" Target="../slideLayouts/slideLayout211.xml"/><Relationship Id="rId23" Type="http://schemas.openxmlformats.org/officeDocument/2006/relationships/image" Target="../media/image4.png"/><Relationship Id="rId10" Type="http://schemas.openxmlformats.org/officeDocument/2006/relationships/slideLayout" Target="../slideLayouts/slideLayout206.xml"/><Relationship Id="rId19" Type="http://schemas.openxmlformats.org/officeDocument/2006/relationships/slideLayout" Target="../slideLayouts/slideLayout215.xml"/><Relationship Id="rId4" Type="http://schemas.openxmlformats.org/officeDocument/2006/relationships/slideLayout" Target="../slideLayouts/slideLayout200.xml"/><Relationship Id="rId9" Type="http://schemas.openxmlformats.org/officeDocument/2006/relationships/slideLayout" Target="../slideLayouts/slideLayout205.xml"/><Relationship Id="rId14" Type="http://schemas.openxmlformats.org/officeDocument/2006/relationships/slideLayout" Target="../slideLayouts/slideLayout210.xml"/><Relationship Id="rId22" Type="http://schemas.openxmlformats.org/officeDocument/2006/relationships/vmlDrawing" Target="../drawings/vmlDrawing20.v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4.xml"/><Relationship Id="rId13" Type="http://schemas.openxmlformats.org/officeDocument/2006/relationships/slideLayout" Target="../slideLayouts/slideLayout229.xml"/><Relationship Id="rId18" Type="http://schemas.openxmlformats.org/officeDocument/2006/relationships/slideLayout" Target="../slideLayouts/slideLayout234.xml"/><Relationship Id="rId3" Type="http://schemas.openxmlformats.org/officeDocument/2006/relationships/slideLayout" Target="../slideLayouts/slideLayout219.xml"/><Relationship Id="rId21" Type="http://schemas.openxmlformats.org/officeDocument/2006/relationships/theme" Target="../theme/theme12.xml"/><Relationship Id="rId7" Type="http://schemas.openxmlformats.org/officeDocument/2006/relationships/slideLayout" Target="../slideLayouts/slideLayout223.xml"/><Relationship Id="rId12" Type="http://schemas.openxmlformats.org/officeDocument/2006/relationships/slideLayout" Target="../slideLayouts/slideLayout228.xml"/><Relationship Id="rId17" Type="http://schemas.openxmlformats.org/officeDocument/2006/relationships/slideLayout" Target="../slideLayouts/slideLayout233.xml"/><Relationship Id="rId2" Type="http://schemas.openxmlformats.org/officeDocument/2006/relationships/slideLayout" Target="../slideLayouts/slideLayout218.xml"/><Relationship Id="rId16" Type="http://schemas.openxmlformats.org/officeDocument/2006/relationships/slideLayout" Target="../slideLayouts/slideLayout232.xml"/><Relationship Id="rId20" Type="http://schemas.openxmlformats.org/officeDocument/2006/relationships/slideLayout" Target="../slideLayouts/slideLayout236.xml"/><Relationship Id="rId1" Type="http://schemas.openxmlformats.org/officeDocument/2006/relationships/slideLayout" Target="../slideLayouts/slideLayout217.xml"/><Relationship Id="rId6" Type="http://schemas.openxmlformats.org/officeDocument/2006/relationships/slideLayout" Target="../slideLayouts/slideLayout222.xml"/><Relationship Id="rId11" Type="http://schemas.openxmlformats.org/officeDocument/2006/relationships/slideLayout" Target="../slideLayouts/slideLayout227.xml"/><Relationship Id="rId24" Type="http://schemas.openxmlformats.org/officeDocument/2006/relationships/oleObject" Target="../embeddings/oleObject22.bin"/><Relationship Id="rId5" Type="http://schemas.openxmlformats.org/officeDocument/2006/relationships/slideLayout" Target="../slideLayouts/slideLayout221.xml"/><Relationship Id="rId15" Type="http://schemas.openxmlformats.org/officeDocument/2006/relationships/slideLayout" Target="../slideLayouts/slideLayout231.xml"/><Relationship Id="rId23" Type="http://schemas.openxmlformats.org/officeDocument/2006/relationships/image" Target="../media/image4.png"/><Relationship Id="rId10" Type="http://schemas.openxmlformats.org/officeDocument/2006/relationships/slideLayout" Target="../slideLayouts/slideLayout226.xml"/><Relationship Id="rId19" Type="http://schemas.openxmlformats.org/officeDocument/2006/relationships/slideLayout" Target="../slideLayouts/slideLayout235.xml"/><Relationship Id="rId4" Type="http://schemas.openxmlformats.org/officeDocument/2006/relationships/slideLayout" Target="../slideLayouts/slideLayout220.xml"/><Relationship Id="rId9" Type="http://schemas.openxmlformats.org/officeDocument/2006/relationships/slideLayout" Target="../slideLayouts/slideLayout225.xml"/><Relationship Id="rId14" Type="http://schemas.openxmlformats.org/officeDocument/2006/relationships/slideLayout" Target="../slideLayouts/slideLayout230.xml"/><Relationship Id="rId22" Type="http://schemas.openxmlformats.org/officeDocument/2006/relationships/vmlDrawing" Target="../drawings/vmlDrawing22.v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4.xml"/><Relationship Id="rId13" Type="http://schemas.openxmlformats.org/officeDocument/2006/relationships/slideLayout" Target="../slideLayouts/slideLayout249.xml"/><Relationship Id="rId18" Type="http://schemas.openxmlformats.org/officeDocument/2006/relationships/slideLayout" Target="../slideLayouts/slideLayout254.xml"/><Relationship Id="rId3" Type="http://schemas.openxmlformats.org/officeDocument/2006/relationships/slideLayout" Target="../slideLayouts/slideLayout239.xml"/><Relationship Id="rId21" Type="http://schemas.openxmlformats.org/officeDocument/2006/relationships/theme" Target="../theme/theme13.xml"/><Relationship Id="rId7" Type="http://schemas.openxmlformats.org/officeDocument/2006/relationships/slideLayout" Target="../slideLayouts/slideLayout243.xml"/><Relationship Id="rId12" Type="http://schemas.openxmlformats.org/officeDocument/2006/relationships/slideLayout" Target="../slideLayouts/slideLayout248.xml"/><Relationship Id="rId17" Type="http://schemas.openxmlformats.org/officeDocument/2006/relationships/slideLayout" Target="../slideLayouts/slideLayout253.xml"/><Relationship Id="rId2" Type="http://schemas.openxmlformats.org/officeDocument/2006/relationships/slideLayout" Target="../slideLayouts/slideLayout238.xml"/><Relationship Id="rId16" Type="http://schemas.openxmlformats.org/officeDocument/2006/relationships/slideLayout" Target="../slideLayouts/slideLayout252.xml"/><Relationship Id="rId20" Type="http://schemas.openxmlformats.org/officeDocument/2006/relationships/slideLayout" Target="../slideLayouts/slideLayout256.xml"/><Relationship Id="rId1" Type="http://schemas.openxmlformats.org/officeDocument/2006/relationships/slideLayout" Target="../slideLayouts/slideLayout237.xml"/><Relationship Id="rId6" Type="http://schemas.openxmlformats.org/officeDocument/2006/relationships/slideLayout" Target="../slideLayouts/slideLayout242.xml"/><Relationship Id="rId11" Type="http://schemas.openxmlformats.org/officeDocument/2006/relationships/slideLayout" Target="../slideLayouts/slideLayout247.xml"/><Relationship Id="rId24" Type="http://schemas.openxmlformats.org/officeDocument/2006/relationships/oleObject" Target="../embeddings/oleObject24.bin"/><Relationship Id="rId5" Type="http://schemas.openxmlformats.org/officeDocument/2006/relationships/slideLayout" Target="../slideLayouts/slideLayout241.xml"/><Relationship Id="rId15" Type="http://schemas.openxmlformats.org/officeDocument/2006/relationships/slideLayout" Target="../slideLayouts/slideLayout251.xml"/><Relationship Id="rId23" Type="http://schemas.openxmlformats.org/officeDocument/2006/relationships/image" Target="../media/image4.png"/><Relationship Id="rId10" Type="http://schemas.openxmlformats.org/officeDocument/2006/relationships/slideLayout" Target="../slideLayouts/slideLayout246.xml"/><Relationship Id="rId19" Type="http://schemas.openxmlformats.org/officeDocument/2006/relationships/slideLayout" Target="../slideLayouts/slideLayout255.xml"/><Relationship Id="rId4" Type="http://schemas.openxmlformats.org/officeDocument/2006/relationships/slideLayout" Target="../slideLayouts/slideLayout240.xml"/><Relationship Id="rId9" Type="http://schemas.openxmlformats.org/officeDocument/2006/relationships/slideLayout" Target="../slideLayouts/slideLayout245.xml"/><Relationship Id="rId14" Type="http://schemas.openxmlformats.org/officeDocument/2006/relationships/slideLayout" Target="../slideLayouts/slideLayout250.xml"/><Relationship Id="rId22" Type="http://schemas.openxmlformats.org/officeDocument/2006/relationships/vmlDrawing" Target="../drawings/vmlDrawing24.v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4.xml"/><Relationship Id="rId13" Type="http://schemas.openxmlformats.org/officeDocument/2006/relationships/slideLayout" Target="../slideLayouts/slideLayout269.xml"/><Relationship Id="rId18" Type="http://schemas.openxmlformats.org/officeDocument/2006/relationships/slideLayout" Target="../slideLayouts/slideLayout274.xml"/><Relationship Id="rId3" Type="http://schemas.openxmlformats.org/officeDocument/2006/relationships/slideLayout" Target="../slideLayouts/slideLayout259.xml"/><Relationship Id="rId21" Type="http://schemas.openxmlformats.org/officeDocument/2006/relationships/theme" Target="../theme/theme14.xml"/><Relationship Id="rId7" Type="http://schemas.openxmlformats.org/officeDocument/2006/relationships/slideLayout" Target="../slideLayouts/slideLayout263.xml"/><Relationship Id="rId12" Type="http://schemas.openxmlformats.org/officeDocument/2006/relationships/slideLayout" Target="../slideLayouts/slideLayout268.xml"/><Relationship Id="rId17" Type="http://schemas.openxmlformats.org/officeDocument/2006/relationships/slideLayout" Target="../slideLayouts/slideLayout273.xml"/><Relationship Id="rId2" Type="http://schemas.openxmlformats.org/officeDocument/2006/relationships/slideLayout" Target="../slideLayouts/slideLayout258.xml"/><Relationship Id="rId16" Type="http://schemas.openxmlformats.org/officeDocument/2006/relationships/slideLayout" Target="../slideLayouts/slideLayout272.xml"/><Relationship Id="rId20" Type="http://schemas.openxmlformats.org/officeDocument/2006/relationships/slideLayout" Target="../slideLayouts/slideLayout276.xml"/><Relationship Id="rId1" Type="http://schemas.openxmlformats.org/officeDocument/2006/relationships/slideLayout" Target="../slideLayouts/slideLayout257.xml"/><Relationship Id="rId6" Type="http://schemas.openxmlformats.org/officeDocument/2006/relationships/slideLayout" Target="../slideLayouts/slideLayout262.xml"/><Relationship Id="rId11" Type="http://schemas.openxmlformats.org/officeDocument/2006/relationships/slideLayout" Target="../slideLayouts/slideLayout267.xml"/><Relationship Id="rId24" Type="http://schemas.openxmlformats.org/officeDocument/2006/relationships/oleObject" Target="../embeddings/oleObject26.bin"/><Relationship Id="rId5" Type="http://schemas.openxmlformats.org/officeDocument/2006/relationships/slideLayout" Target="../slideLayouts/slideLayout261.xml"/><Relationship Id="rId15" Type="http://schemas.openxmlformats.org/officeDocument/2006/relationships/slideLayout" Target="../slideLayouts/slideLayout271.xml"/><Relationship Id="rId23" Type="http://schemas.openxmlformats.org/officeDocument/2006/relationships/image" Target="../media/image4.png"/><Relationship Id="rId10" Type="http://schemas.openxmlformats.org/officeDocument/2006/relationships/slideLayout" Target="../slideLayouts/slideLayout266.xml"/><Relationship Id="rId19" Type="http://schemas.openxmlformats.org/officeDocument/2006/relationships/slideLayout" Target="../slideLayouts/slideLayout275.xml"/><Relationship Id="rId4" Type="http://schemas.openxmlformats.org/officeDocument/2006/relationships/slideLayout" Target="../slideLayouts/slideLayout260.xml"/><Relationship Id="rId9" Type="http://schemas.openxmlformats.org/officeDocument/2006/relationships/slideLayout" Target="../slideLayouts/slideLayout265.xml"/><Relationship Id="rId14" Type="http://schemas.openxmlformats.org/officeDocument/2006/relationships/slideLayout" Target="../slideLayouts/slideLayout270.xml"/><Relationship Id="rId22" Type="http://schemas.openxmlformats.org/officeDocument/2006/relationships/vmlDrawing" Target="../drawings/vmlDrawing26.v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4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279.xml"/><Relationship Id="rId7" Type="http://schemas.openxmlformats.org/officeDocument/2006/relationships/slideLayout" Target="../slideLayouts/slideLayout283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278.xml"/><Relationship Id="rId1" Type="http://schemas.openxmlformats.org/officeDocument/2006/relationships/slideLayout" Target="../slideLayouts/slideLayout277.xml"/><Relationship Id="rId6" Type="http://schemas.openxmlformats.org/officeDocument/2006/relationships/slideLayout" Target="../slideLayouts/slideLayout282.xml"/><Relationship Id="rId11" Type="http://schemas.openxmlformats.org/officeDocument/2006/relationships/slideLayout" Target="../slideLayouts/slideLayout287.xml"/><Relationship Id="rId5" Type="http://schemas.openxmlformats.org/officeDocument/2006/relationships/slideLayout" Target="../slideLayouts/slideLayout281.xml"/><Relationship Id="rId10" Type="http://schemas.openxmlformats.org/officeDocument/2006/relationships/slideLayout" Target="../slideLayouts/slideLayout286.xml"/><Relationship Id="rId4" Type="http://schemas.openxmlformats.org/officeDocument/2006/relationships/slideLayout" Target="../slideLayouts/slideLayout280.xml"/><Relationship Id="rId9" Type="http://schemas.openxmlformats.org/officeDocument/2006/relationships/slideLayout" Target="../slideLayouts/slideLayout285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5.xml"/><Relationship Id="rId13" Type="http://schemas.openxmlformats.org/officeDocument/2006/relationships/slideLayout" Target="../slideLayouts/slideLayout300.xml"/><Relationship Id="rId18" Type="http://schemas.openxmlformats.org/officeDocument/2006/relationships/slideLayout" Target="../slideLayouts/slideLayout305.xml"/><Relationship Id="rId3" Type="http://schemas.openxmlformats.org/officeDocument/2006/relationships/slideLayout" Target="../slideLayouts/slideLayout290.xml"/><Relationship Id="rId21" Type="http://schemas.openxmlformats.org/officeDocument/2006/relationships/theme" Target="../theme/theme16.xml"/><Relationship Id="rId7" Type="http://schemas.openxmlformats.org/officeDocument/2006/relationships/slideLayout" Target="../slideLayouts/slideLayout294.xml"/><Relationship Id="rId12" Type="http://schemas.openxmlformats.org/officeDocument/2006/relationships/slideLayout" Target="../slideLayouts/slideLayout299.xml"/><Relationship Id="rId17" Type="http://schemas.openxmlformats.org/officeDocument/2006/relationships/slideLayout" Target="../slideLayouts/slideLayout304.xml"/><Relationship Id="rId2" Type="http://schemas.openxmlformats.org/officeDocument/2006/relationships/slideLayout" Target="../slideLayouts/slideLayout289.xml"/><Relationship Id="rId16" Type="http://schemas.openxmlformats.org/officeDocument/2006/relationships/slideLayout" Target="../slideLayouts/slideLayout303.xml"/><Relationship Id="rId20" Type="http://schemas.openxmlformats.org/officeDocument/2006/relationships/slideLayout" Target="../slideLayouts/slideLayout307.xml"/><Relationship Id="rId1" Type="http://schemas.openxmlformats.org/officeDocument/2006/relationships/slideLayout" Target="../slideLayouts/slideLayout288.xml"/><Relationship Id="rId6" Type="http://schemas.openxmlformats.org/officeDocument/2006/relationships/slideLayout" Target="../slideLayouts/slideLayout293.xml"/><Relationship Id="rId11" Type="http://schemas.openxmlformats.org/officeDocument/2006/relationships/slideLayout" Target="../slideLayouts/slideLayout298.xml"/><Relationship Id="rId24" Type="http://schemas.openxmlformats.org/officeDocument/2006/relationships/oleObject" Target="../embeddings/oleObject28.bin"/><Relationship Id="rId5" Type="http://schemas.openxmlformats.org/officeDocument/2006/relationships/slideLayout" Target="../slideLayouts/slideLayout292.xml"/><Relationship Id="rId15" Type="http://schemas.openxmlformats.org/officeDocument/2006/relationships/slideLayout" Target="../slideLayouts/slideLayout302.xml"/><Relationship Id="rId23" Type="http://schemas.openxmlformats.org/officeDocument/2006/relationships/image" Target="../media/image4.png"/><Relationship Id="rId10" Type="http://schemas.openxmlformats.org/officeDocument/2006/relationships/slideLayout" Target="../slideLayouts/slideLayout297.xml"/><Relationship Id="rId19" Type="http://schemas.openxmlformats.org/officeDocument/2006/relationships/slideLayout" Target="../slideLayouts/slideLayout306.xml"/><Relationship Id="rId4" Type="http://schemas.openxmlformats.org/officeDocument/2006/relationships/slideLayout" Target="../slideLayouts/slideLayout291.xml"/><Relationship Id="rId9" Type="http://schemas.openxmlformats.org/officeDocument/2006/relationships/slideLayout" Target="../slideLayouts/slideLayout296.xml"/><Relationship Id="rId14" Type="http://schemas.openxmlformats.org/officeDocument/2006/relationships/slideLayout" Target="../slideLayouts/slideLayout301.xml"/><Relationship Id="rId22" Type="http://schemas.openxmlformats.org/officeDocument/2006/relationships/vmlDrawing" Target="../drawings/vmlDrawing28.v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5.xml"/><Relationship Id="rId13" Type="http://schemas.openxmlformats.org/officeDocument/2006/relationships/slideLayout" Target="../slideLayouts/slideLayout320.xml"/><Relationship Id="rId18" Type="http://schemas.openxmlformats.org/officeDocument/2006/relationships/slideLayout" Target="../slideLayouts/slideLayout325.xml"/><Relationship Id="rId3" Type="http://schemas.openxmlformats.org/officeDocument/2006/relationships/slideLayout" Target="../slideLayouts/slideLayout310.xml"/><Relationship Id="rId21" Type="http://schemas.openxmlformats.org/officeDocument/2006/relationships/theme" Target="../theme/theme17.xml"/><Relationship Id="rId7" Type="http://schemas.openxmlformats.org/officeDocument/2006/relationships/slideLayout" Target="../slideLayouts/slideLayout314.xml"/><Relationship Id="rId12" Type="http://schemas.openxmlformats.org/officeDocument/2006/relationships/slideLayout" Target="../slideLayouts/slideLayout319.xml"/><Relationship Id="rId17" Type="http://schemas.openxmlformats.org/officeDocument/2006/relationships/slideLayout" Target="../slideLayouts/slideLayout324.xml"/><Relationship Id="rId2" Type="http://schemas.openxmlformats.org/officeDocument/2006/relationships/slideLayout" Target="../slideLayouts/slideLayout309.xml"/><Relationship Id="rId16" Type="http://schemas.openxmlformats.org/officeDocument/2006/relationships/slideLayout" Target="../slideLayouts/slideLayout323.xml"/><Relationship Id="rId20" Type="http://schemas.openxmlformats.org/officeDocument/2006/relationships/slideLayout" Target="../slideLayouts/slideLayout327.xml"/><Relationship Id="rId1" Type="http://schemas.openxmlformats.org/officeDocument/2006/relationships/slideLayout" Target="../slideLayouts/slideLayout308.xml"/><Relationship Id="rId6" Type="http://schemas.openxmlformats.org/officeDocument/2006/relationships/slideLayout" Target="../slideLayouts/slideLayout313.xml"/><Relationship Id="rId11" Type="http://schemas.openxmlformats.org/officeDocument/2006/relationships/slideLayout" Target="../slideLayouts/slideLayout318.xml"/><Relationship Id="rId24" Type="http://schemas.openxmlformats.org/officeDocument/2006/relationships/oleObject" Target="../embeddings/oleObject30.bin"/><Relationship Id="rId5" Type="http://schemas.openxmlformats.org/officeDocument/2006/relationships/slideLayout" Target="../slideLayouts/slideLayout312.xml"/><Relationship Id="rId15" Type="http://schemas.openxmlformats.org/officeDocument/2006/relationships/slideLayout" Target="../slideLayouts/slideLayout322.xml"/><Relationship Id="rId23" Type="http://schemas.openxmlformats.org/officeDocument/2006/relationships/image" Target="../media/image4.png"/><Relationship Id="rId10" Type="http://schemas.openxmlformats.org/officeDocument/2006/relationships/slideLayout" Target="../slideLayouts/slideLayout317.xml"/><Relationship Id="rId19" Type="http://schemas.openxmlformats.org/officeDocument/2006/relationships/slideLayout" Target="../slideLayouts/slideLayout326.xml"/><Relationship Id="rId4" Type="http://schemas.openxmlformats.org/officeDocument/2006/relationships/slideLayout" Target="../slideLayouts/slideLayout311.xml"/><Relationship Id="rId9" Type="http://schemas.openxmlformats.org/officeDocument/2006/relationships/slideLayout" Target="../slideLayouts/slideLayout316.xml"/><Relationship Id="rId14" Type="http://schemas.openxmlformats.org/officeDocument/2006/relationships/slideLayout" Target="../slideLayouts/slideLayout321.xml"/><Relationship Id="rId22" Type="http://schemas.openxmlformats.org/officeDocument/2006/relationships/vmlDrawing" Target="../drawings/vmlDrawing30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19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slideLayout" Target="../slideLayouts/slideLayout36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24" Type="http://schemas.openxmlformats.org/officeDocument/2006/relationships/oleObject" Target="../embeddings/oleObject2.bin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23" Type="http://schemas.openxmlformats.org/officeDocument/2006/relationships/image" Target="../media/image4.png"/><Relationship Id="rId10" Type="http://schemas.openxmlformats.org/officeDocument/2006/relationships/slideLayout" Target="../slideLayouts/slideLayout26.xml"/><Relationship Id="rId19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vmlDrawing" Target="../drawings/vmlDrawing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39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0" Type="http://schemas.openxmlformats.org/officeDocument/2006/relationships/slideLayout" Target="../slideLayouts/slideLayout56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24" Type="http://schemas.openxmlformats.org/officeDocument/2006/relationships/oleObject" Target="../embeddings/oleObject4.bin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23" Type="http://schemas.openxmlformats.org/officeDocument/2006/relationships/image" Target="../media/image4.png"/><Relationship Id="rId10" Type="http://schemas.openxmlformats.org/officeDocument/2006/relationships/slideLayout" Target="../slideLayouts/slideLayout46.xml"/><Relationship Id="rId19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Relationship Id="rId22" Type="http://schemas.openxmlformats.org/officeDocument/2006/relationships/vmlDrawing" Target="../drawings/vmlDrawing4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slideLayout" Target="../slideLayouts/slideLayout69.xml"/><Relationship Id="rId18" Type="http://schemas.openxmlformats.org/officeDocument/2006/relationships/slideLayout" Target="../slideLayouts/slideLayout74.xml"/><Relationship Id="rId3" Type="http://schemas.openxmlformats.org/officeDocument/2006/relationships/slideLayout" Target="../slideLayouts/slideLayout59.xml"/><Relationship Id="rId21" Type="http://schemas.openxmlformats.org/officeDocument/2006/relationships/theme" Target="../theme/theme4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17" Type="http://schemas.openxmlformats.org/officeDocument/2006/relationships/slideLayout" Target="../slideLayouts/slideLayout73.xml"/><Relationship Id="rId2" Type="http://schemas.openxmlformats.org/officeDocument/2006/relationships/slideLayout" Target="../slideLayouts/slideLayout58.xml"/><Relationship Id="rId16" Type="http://schemas.openxmlformats.org/officeDocument/2006/relationships/slideLayout" Target="../slideLayouts/slideLayout72.xml"/><Relationship Id="rId20" Type="http://schemas.openxmlformats.org/officeDocument/2006/relationships/slideLayout" Target="../slideLayouts/slideLayout76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24" Type="http://schemas.openxmlformats.org/officeDocument/2006/relationships/oleObject" Target="../embeddings/oleObject6.bin"/><Relationship Id="rId5" Type="http://schemas.openxmlformats.org/officeDocument/2006/relationships/slideLayout" Target="../slideLayouts/slideLayout61.xml"/><Relationship Id="rId15" Type="http://schemas.openxmlformats.org/officeDocument/2006/relationships/slideLayout" Target="../slideLayouts/slideLayout71.xml"/><Relationship Id="rId23" Type="http://schemas.openxmlformats.org/officeDocument/2006/relationships/image" Target="../media/image4.png"/><Relationship Id="rId10" Type="http://schemas.openxmlformats.org/officeDocument/2006/relationships/slideLayout" Target="../slideLayouts/slideLayout66.xml"/><Relationship Id="rId19" Type="http://schemas.openxmlformats.org/officeDocument/2006/relationships/slideLayout" Target="../slideLayouts/slideLayout75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70.xml"/><Relationship Id="rId22" Type="http://schemas.openxmlformats.org/officeDocument/2006/relationships/vmlDrawing" Target="../drawings/vmlDrawing6.v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13" Type="http://schemas.openxmlformats.org/officeDocument/2006/relationships/slideLayout" Target="../slideLayouts/slideLayout89.xml"/><Relationship Id="rId18" Type="http://schemas.openxmlformats.org/officeDocument/2006/relationships/slideLayout" Target="../slideLayouts/slideLayout94.xml"/><Relationship Id="rId3" Type="http://schemas.openxmlformats.org/officeDocument/2006/relationships/slideLayout" Target="../slideLayouts/slideLayout79.xml"/><Relationship Id="rId21" Type="http://schemas.openxmlformats.org/officeDocument/2006/relationships/theme" Target="../theme/theme5.xml"/><Relationship Id="rId7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88.xml"/><Relationship Id="rId17" Type="http://schemas.openxmlformats.org/officeDocument/2006/relationships/slideLayout" Target="../slideLayouts/slideLayout93.xml"/><Relationship Id="rId2" Type="http://schemas.openxmlformats.org/officeDocument/2006/relationships/slideLayout" Target="../slideLayouts/slideLayout78.xml"/><Relationship Id="rId16" Type="http://schemas.openxmlformats.org/officeDocument/2006/relationships/slideLayout" Target="../slideLayouts/slideLayout92.xml"/><Relationship Id="rId20" Type="http://schemas.openxmlformats.org/officeDocument/2006/relationships/slideLayout" Target="../slideLayouts/slideLayout96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87.xml"/><Relationship Id="rId24" Type="http://schemas.openxmlformats.org/officeDocument/2006/relationships/oleObject" Target="../embeddings/oleObject8.bin"/><Relationship Id="rId5" Type="http://schemas.openxmlformats.org/officeDocument/2006/relationships/slideLayout" Target="../slideLayouts/slideLayout81.xml"/><Relationship Id="rId15" Type="http://schemas.openxmlformats.org/officeDocument/2006/relationships/slideLayout" Target="../slideLayouts/slideLayout91.xml"/><Relationship Id="rId23" Type="http://schemas.openxmlformats.org/officeDocument/2006/relationships/image" Target="../media/image4.png"/><Relationship Id="rId10" Type="http://schemas.openxmlformats.org/officeDocument/2006/relationships/slideLayout" Target="../slideLayouts/slideLayout86.xml"/><Relationship Id="rId19" Type="http://schemas.openxmlformats.org/officeDocument/2006/relationships/slideLayout" Target="../slideLayouts/slideLayout95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Relationship Id="rId14" Type="http://schemas.openxmlformats.org/officeDocument/2006/relationships/slideLayout" Target="../slideLayouts/slideLayout90.xml"/><Relationship Id="rId22" Type="http://schemas.openxmlformats.org/officeDocument/2006/relationships/vmlDrawing" Target="../drawings/vmlDrawing8.v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slideLayout" Target="../slideLayouts/slideLayout109.xml"/><Relationship Id="rId18" Type="http://schemas.openxmlformats.org/officeDocument/2006/relationships/slideLayout" Target="../slideLayouts/slideLayout114.xml"/><Relationship Id="rId3" Type="http://schemas.openxmlformats.org/officeDocument/2006/relationships/slideLayout" Target="../slideLayouts/slideLayout99.xml"/><Relationship Id="rId21" Type="http://schemas.openxmlformats.org/officeDocument/2006/relationships/theme" Target="../theme/theme6.xml"/><Relationship Id="rId7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8.xml"/><Relationship Id="rId17" Type="http://schemas.openxmlformats.org/officeDocument/2006/relationships/slideLayout" Target="../slideLayouts/slideLayout113.xml"/><Relationship Id="rId2" Type="http://schemas.openxmlformats.org/officeDocument/2006/relationships/slideLayout" Target="../slideLayouts/slideLayout98.xml"/><Relationship Id="rId16" Type="http://schemas.openxmlformats.org/officeDocument/2006/relationships/slideLayout" Target="../slideLayouts/slideLayout112.xml"/><Relationship Id="rId20" Type="http://schemas.openxmlformats.org/officeDocument/2006/relationships/slideLayout" Target="../slideLayouts/slideLayout116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24" Type="http://schemas.openxmlformats.org/officeDocument/2006/relationships/oleObject" Target="../embeddings/oleObject10.bin"/><Relationship Id="rId5" Type="http://schemas.openxmlformats.org/officeDocument/2006/relationships/slideLayout" Target="../slideLayouts/slideLayout101.xml"/><Relationship Id="rId15" Type="http://schemas.openxmlformats.org/officeDocument/2006/relationships/slideLayout" Target="../slideLayouts/slideLayout111.xml"/><Relationship Id="rId23" Type="http://schemas.openxmlformats.org/officeDocument/2006/relationships/image" Target="../media/image4.png"/><Relationship Id="rId10" Type="http://schemas.openxmlformats.org/officeDocument/2006/relationships/slideLayout" Target="../slideLayouts/slideLayout106.xml"/><Relationship Id="rId19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slideLayout" Target="../slideLayouts/slideLayout110.xml"/><Relationship Id="rId22" Type="http://schemas.openxmlformats.org/officeDocument/2006/relationships/vmlDrawing" Target="../drawings/vmlDrawing10.v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4.xml"/><Relationship Id="rId13" Type="http://schemas.openxmlformats.org/officeDocument/2006/relationships/slideLayout" Target="../slideLayouts/slideLayout129.xml"/><Relationship Id="rId18" Type="http://schemas.openxmlformats.org/officeDocument/2006/relationships/slideLayout" Target="../slideLayouts/slideLayout134.xml"/><Relationship Id="rId3" Type="http://schemas.openxmlformats.org/officeDocument/2006/relationships/slideLayout" Target="../slideLayouts/slideLayout119.xml"/><Relationship Id="rId21" Type="http://schemas.openxmlformats.org/officeDocument/2006/relationships/theme" Target="../theme/theme7.xml"/><Relationship Id="rId7" Type="http://schemas.openxmlformats.org/officeDocument/2006/relationships/slideLayout" Target="../slideLayouts/slideLayout123.xml"/><Relationship Id="rId12" Type="http://schemas.openxmlformats.org/officeDocument/2006/relationships/slideLayout" Target="../slideLayouts/slideLayout128.xml"/><Relationship Id="rId17" Type="http://schemas.openxmlformats.org/officeDocument/2006/relationships/slideLayout" Target="../slideLayouts/slideLayout133.xml"/><Relationship Id="rId2" Type="http://schemas.openxmlformats.org/officeDocument/2006/relationships/slideLayout" Target="../slideLayouts/slideLayout118.xml"/><Relationship Id="rId16" Type="http://schemas.openxmlformats.org/officeDocument/2006/relationships/slideLayout" Target="../slideLayouts/slideLayout132.xml"/><Relationship Id="rId20" Type="http://schemas.openxmlformats.org/officeDocument/2006/relationships/slideLayout" Target="../slideLayouts/slideLayout136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1" Type="http://schemas.openxmlformats.org/officeDocument/2006/relationships/slideLayout" Target="../slideLayouts/slideLayout127.xml"/><Relationship Id="rId24" Type="http://schemas.openxmlformats.org/officeDocument/2006/relationships/oleObject" Target="../embeddings/oleObject12.bin"/><Relationship Id="rId5" Type="http://schemas.openxmlformats.org/officeDocument/2006/relationships/slideLayout" Target="../slideLayouts/slideLayout121.xml"/><Relationship Id="rId15" Type="http://schemas.openxmlformats.org/officeDocument/2006/relationships/slideLayout" Target="../slideLayouts/slideLayout131.xml"/><Relationship Id="rId23" Type="http://schemas.openxmlformats.org/officeDocument/2006/relationships/image" Target="../media/image4.png"/><Relationship Id="rId10" Type="http://schemas.openxmlformats.org/officeDocument/2006/relationships/slideLayout" Target="../slideLayouts/slideLayout126.xml"/><Relationship Id="rId19" Type="http://schemas.openxmlformats.org/officeDocument/2006/relationships/slideLayout" Target="../slideLayouts/slideLayout135.xml"/><Relationship Id="rId4" Type="http://schemas.openxmlformats.org/officeDocument/2006/relationships/slideLayout" Target="../slideLayouts/slideLayout120.xml"/><Relationship Id="rId9" Type="http://schemas.openxmlformats.org/officeDocument/2006/relationships/slideLayout" Target="../slideLayouts/slideLayout125.xml"/><Relationship Id="rId14" Type="http://schemas.openxmlformats.org/officeDocument/2006/relationships/slideLayout" Target="../slideLayouts/slideLayout130.xml"/><Relationship Id="rId22" Type="http://schemas.openxmlformats.org/officeDocument/2006/relationships/vmlDrawing" Target="../drawings/vmlDrawing12.v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4.xml"/><Relationship Id="rId13" Type="http://schemas.openxmlformats.org/officeDocument/2006/relationships/slideLayout" Target="../slideLayouts/slideLayout149.xml"/><Relationship Id="rId18" Type="http://schemas.openxmlformats.org/officeDocument/2006/relationships/slideLayout" Target="../slideLayouts/slideLayout154.xml"/><Relationship Id="rId3" Type="http://schemas.openxmlformats.org/officeDocument/2006/relationships/slideLayout" Target="../slideLayouts/slideLayout139.xml"/><Relationship Id="rId21" Type="http://schemas.openxmlformats.org/officeDocument/2006/relationships/theme" Target="../theme/theme8.xml"/><Relationship Id="rId7" Type="http://schemas.openxmlformats.org/officeDocument/2006/relationships/slideLayout" Target="../slideLayouts/slideLayout143.xml"/><Relationship Id="rId12" Type="http://schemas.openxmlformats.org/officeDocument/2006/relationships/slideLayout" Target="../slideLayouts/slideLayout148.xml"/><Relationship Id="rId17" Type="http://schemas.openxmlformats.org/officeDocument/2006/relationships/slideLayout" Target="../slideLayouts/slideLayout153.xml"/><Relationship Id="rId2" Type="http://schemas.openxmlformats.org/officeDocument/2006/relationships/slideLayout" Target="../slideLayouts/slideLayout138.xml"/><Relationship Id="rId16" Type="http://schemas.openxmlformats.org/officeDocument/2006/relationships/slideLayout" Target="../slideLayouts/slideLayout152.xml"/><Relationship Id="rId20" Type="http://schemas.openxmlformats.org/officeDocument/2006/relationships/slideLayout" Target="../slideLayouts/slideLayout156.xml"/><Relationship Id="rId1" Type="http://schemas.openxmlformats.org/officeDocument/2006/relationships/slideLayout" Target="../slideLayouts/slideLayout137.xml"/><Relationship Id="rId6" Type="http://schemas.openxmlformats.org/officeDocument/2006/relationships/slideLayout" Target="../slideLayouts/slideLayout142.xml"/><Relationship Id="rId11" Type="http://schemas.openxmlformats.org/officeDocument/2006/relationships/slideLayout" Target="../slideLayouts/slideLayout147.xml"/><Relationship Id="rId24" Type="http://schemas.openxmlformats.org/officeDocument/2006/relationships/oleObject" Target="../embeddings/oleObject14.bin"/><Relationship Id="rId5" Type="http://schemas.openxmlformats.org/officeDocument/2006/relationships/slideLayout" Target="../slideLayouts/slideLayout141.xml"/><Relationship Id="rId15" Type="http://schemas.openxmlformats.org/officeDocument/2006/relationships/slideLayout" Target="../slideLayouts/slideLayout151.xml"/><Relationship Id="rId23" Type="http://schemas.openxmlformats.org/officeDocument/2006/relationships/image" Target="../media/image4.png"/><Relationship Id="rId10" Type="http://schemas.openxmlformats.org/officeDocument/2006/relationships/slideLayout" Target="../slideLayouts/slideLayout146.xml"/><Relationship Id="rId19" Type="http://schemas.openxmlformats.org/officeDocument/2006/relationships/slideLayout" Target="../slideLayouts/slideLayout155.xml"/><Relationship Id="rId4" Type="http://schemas.openxmlformats.org/officeDocument/2006/relationships/slideLayout" Target="../slideLayouts/slideLayout140.xml"/><Relationship Id="rId9" Type="http://schemas.openxmlformats.org/officeDocument/2006/relationships/slideLayout" Target="../slideLayouts/slideLayout145.xml"/><Relationship Id="rId14" Type="http://schemas.openxmlformats.org/officeDocument/2006/relationships/slideLayout" Target="../slideLayouts/slideLayout150.xml"/><Relationship Id="rId22" Type="http://schemas.openxmlformats.org/officeDocument/2006/relationships/vmlDrawing" Target="../drawings/vmlDrawing14.v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4.xml"/><Relationship Id="rId13" Type="http://schemas.openxmlformats.org/officeDocument/2006/relationships/slideLayout" Target="../slideLayouts/slideLayout169.xml"/><Relationship Id="rId18" Type="http://schemas.openxmlformats.org/officeDocument/2006/relationships/slideLayout" Target="../slideLayouts/slideLayout174.xml"/><Relationship Id="rId3" Type="http://schemas.openxmlformats.org/officeDocument/2006/relationships/slideLayout" Target="../slideLayouts/slideLayout159.xml"/><Relationship Id="rId21" Type="http://schemas.openxmlformats.org/officeDocument/2006/relationships/theme" Target="../theme/theme9.xml"/><Relationship Id="rId7" Type="http://schemas.openxmlformats.org/officeDocument/2006/relationships/slideLayout" Target="../slideLayouts/slideLayout163.xml"/><Relationship Id="rId12" Type="http://schemas.openxmlformats.org/officeDocument/2006/relationships/slideLayout" Target="../slideLayouts/slideLayout168.xml"/><Relationship Id="rId17" Type="http://schemas.openxmlformats.org/officeDocument/2006/relationships/slideLayout" Target="../slideLayouts/slideLayout173.xml"/><Relationship Id="rId2" Type="http://schemas.openxmlformats.org/officeDocument/2006/relationships/slideLayout" Target="../slideLayouts/slideLayout158.xml"/><Relationship Id="rId16" Type="http://schemas.openxmlformats.org/officeDocument/2006/relationships/slideLayout" Target="../slideLayouts/slideLayout172.xml"/><Relationship Id="rId20" Type="http://schemas.openxmlformats.org/officeDocument/2006/relationships/slideLayout" Target="../slideLayouts/slideLayout176.xml"/><Relationship Id="rId1" Type="http://schemas.openxmlformats.org/officeDocument/2006/relationships/slideLayout" Target="../slideLayouts/slideLayout157.xml"/><Relationship Id="rId6" Type="http://schemas.openxmlformats.org/officeDocument/2006/relationships/slideLayout" Target="../slideLayouts/slideLayout162.xml"/><Relationship Id="rId11" Type="http://schemas.openxmlformats.org/officeDocument/2006/relationships/slideLayout" Target="../slideLayouts/slideLayout167.xml"/><Relationship Id="rId24" Type="http://schemas.openxmlformats.org/officeDocument/2006/relationships/oleObject" Target="../embeddings/oleObject16.bin"/><Relationship Id="rId5" Type="http://schemas.openxmlformats.org/officeDocument/2006/relationships/slideLayout" Target="../slideLayouts/slideLayout161.xml"/><Relationship Id="rId15" Type="http://schemas.openxmlformats.org/officeDocument/2006/relationships/slideLayout" Target="../slideLayouts/slideLayout171.xml"/><Relationship Id="rId23" Type="http://schemas.openxmlformats.org/officeDocument/2006/relationships/image" Target="../media/image4.png"/><Relationship Id="rId10" Type="http://schemas.openxmlformats.org/officeDocument/2006/relationships/slideLayout" Target="../slideLayouts/slideLayout166.xml"/><Relationship Id="rId19" Type="http://schemas.openxmlformats.org/officeDocument/2006/relationships/slideLayout" Target="../slideLayouts/slideLayout175.xml"/><Relationship Id="rId4" Type="http://schemas.openxmlformats.org/officeDocument/2006/relationships/slideLayout" Target="../slideLayouts/slideLayout160.xml"/><Relationship Id="rId9" Type="http://schemas.openxmlformats.org/officeDocument/2006/relationships/slideLayout" Target="../slideLayouts/slideLayout165.xml"/><Relationship Id="rId14" Type="http://schemas.openxmlformats.org/officeDocument/2006/relationships/slideLayout" Target="../slideLayouts/slideLayout170.xml"/><Relationship Id="rId22" Type="http://schemas.openxmlformats.org/officeDocument/2006/relationships/vmlDrawing" Target="../drawings/vmlDrawing16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470829047"/>
              </p:ext>
            </p:extLst>
          </p:nvPr>
        </p:nvGraphicFramePr>
        <p:xfrm>
          <a:off x="1629" y="1614"/>
          <a:ext cx="1587" cy="1587"/>
        </p:xfrm>
        <a:graphic>
          <a:graphicData uri="http://schemas.openxmlformats.org/presentationml/2006/ole">
            <p:oleObj spid="_x0000_s1040" name="think-cell Slide" r:id="rId19" imgW="270" imgH="270" progId="">
              <p:embed/>
            </p:oleObj>
          </a:graphicData>
        </a:graphic>
      </p:graphicFrame>
      <p:pic>
        <p:nvPicPr>
          <p:cNvPr id="1026" name="Picture 24" descr="am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5063" y="211138"/>
            <a:ext cx="1460500" cy="604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8151" y="549276"/>
            <a:ext cx="8234363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9739" y="1960563"/>
            <a:ext cx="823595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159716" y="6324782"/>
            <a:ext cx="1198563" cy="26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100">
                <a:solidFill>
                  <a:srgbClr val="000000"/>
                </a:solidFill>
                <a:ea typeface="MS PGothic" pitchFamily="34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BFB7F5A-F374-44D5-A7BB-99BBF383B45F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6981911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+mj-lt"/>
          <a:ea typeface="+mj-ea"/>
          <a:cs typeface="MS PGothic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MS PGothic" pitchFamily="34" charset="-128"/>
          <a:cs typeface="MS PGothic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MS PGothic" pitchFamily="34" charset="-128"/>
          <a:cs typeface="MS PGothic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MS PGothic" pitchFamily="34" charset="-128"/>
          <a:cs typeface="MS PGothic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MS PGothic" pitchFamily="34" charset="-128"/>
          <a:cs typeface="MS PGothic"/>
        </a:defRPr>
      </a:lvl5pPr>
      <a:lvl6pPr marL="4572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MS PGothic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MS PGothic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MS PGothic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MS PGothic" pitchFamily="34" charset="-128"/>
        </a:defRPr>
      </a:lvl9pPr>
    </p:titleStyle>
    <p:bodyStyle>
      <a:lvl1pPr marL="247650" indent="-2476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200">
          <a:solidFill>
            <a:schemeClr val="tx1"/>
          </a:solidFill>
          <a:latin typeface="+mn-lt"/>
          <a:ea typeface="+mn-ea"/>
          <a:cs typeface="MS PGothic"/>
        </a:defRPr>
      </a:lvl1pPr>
      <a:lvl2pPr marL="542925" indent="-2936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200">
          <a:solidFill>
            <a:schemeClr val="tx1"/>
          </a:solidFill>
          <a:latin typeface="+mn-lt"/>
          <a:ea typeface="+mn-ea"/>
          <a:cs typeface="MS PGothic"/>
        </a:defRPr>
      </a:lvl2pPr>
      <a:lvl3pPr marL="809625" indent="-26511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>
          <a:solidFill>
            <a:schemeClr val="tx1"/>
          </a:solidFill>
          <a:latin typeface="+mn-lt"/>
          <a:ea typeface="+mn-ea"/>
          <a:cs typeface="MS PGothic"/>
        </a:defRPr>
      </a:lvl3pPr>
      <a:lvl4pPr marL="1081088" indent="-2698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>
          <a:solidFill>
            <a:schemeClr val="tx1"/>
          </a:solidFill>
          <a:latin typeface="+mn-lt"/>
          <a:ea typeface="+mn-ea"/>
          <a:cs typeface="MS PGothic"/>
        </a:defRPr>
      </a:lvl4pPr>
      <a:lvl5pPr marL="1352550" indent="-2698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defRPr>
          <a:solidFill>
            <a:schemeClr val="tx1"/>
          </a:solidFill>
          <a:latin typeface="+mn-lt"/>
          <a:ea typeface="+mn-ea"/>
          <a:cs typeface="MS PGothic"/>
        </a:defRPr>
      </a:lvl5pPr>
      <a:lvl6pPr marL="18097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>
          <a:solidFill>
            <a:schemeClr val="tx1"/>
          </a:solidFill>
          <a:latin typeface="+mn-lt"/>
          <a:ea typeface="+mn-ea"/>
        </a:defRPr>
      </a:lvl6pPr>
      <a:lvl7pPr marL="22669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>
          <a:solidFill>
            <a:schemeClr val="tx1"/>
          </a:solidFill>
          <a:latin typeface="+mn-lt"/>
          <a:ea typeface="+mn-ea"/>
        </a:defRPr>
      </a:lvl7pPr>
      <a:lvl8pPr marL="27241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>
          <a:solidFill>
            <a:schemeClr val="tx1"/>
          </a:solidFill>
          <a:latin typeface="+mn-lt"/>
          <a:ea typeface="+mn-ea"/>
        </a:defRPr>
      </a:lvl8pPr>
      <a:lvl9pPr marL="31813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6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349384620"/>
              </p:ext>
            </p:extLst>
          </p:nvPr>
        </p:nvGraphicFramePr>
        <p:xfrm>
          <a:off x="1629" y="1614"/>
          <a:ext cx="1587" cy="1587"/>
        </p:xfrm>
        <a:graphic>
          <a:graphicData uri="http://schemas.openxmlformats.org/presentationml/2006/ole">
            <p:oleObj spid="_x0000_s34832" name="think-cell Slide" r:id="rId24" imgW="270" imgH="270" progId="">
              <p:embed/>
            </p:oleObj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8151" y="92077"/>
            <a:ext cx="8234363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itle styl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9739" y="1122363"/>
            <a:ext cx="8235950" cy="4781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ext styles</a:t>
            </a:r>
          </a:p>
          <a:p>
            <a:pPr lvl="1"/>
            <a:r>
              <a:rPr lang="en-GB" altLang="en-US" smtClean="0"/>
              <a:t>Second level</a:t>
            </a:r>
          </a:p>
          <a:p>
            <a:pPr lvl="2"/>
            <a:r>
              <a:rPr lang="en-GB" altLang="en-US" smtClean="0"/>
              <a:t>Third level</a:t>
            </a:r>
          </a:p>
          <a:p>
            <a:pPr lvl="3"/>
            <a:r>
              <a:rPr lang="en-GB" altLang="en-US" smtClean="0"/>
              <a:t>Fourth level</a:t>
            </a:r>
          </a:p>
          <a:p>
            <a:pPr lvl="4"/>
            <a:r>
              <a:rPr lang="en-GB" altLang="en-US" smtClean="0"/>
              <a:t>Fif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58025" y="6588293"/>
            <a:ext cx="1905000" cy="26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0" hangingPunct="0">
              <a:spcBef>
                <a:spcPct val="0"/>
              </a:spcBef>
              <a:defRPr sz="1100" baseline="0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D960DEBB-A41E-45E4-958D-B44339878EC9}" type="slidenum">
              <a:rPr lang="en-GB"/>
              <a:pPr fontAlgn="base">
                <a:spcAft>
                  <a:spcPct val="0"/>
                </a:spcAft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88810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3" r:id="rId1"/>
    <p:sldLayoutId id="2147483934" r:id="rId2"/>
    <p:sldLayoutId id="2147483935" r:id="rId3"/>
    <p:sldLayoutId id="2147483936" r:id="rId4"/>
    <p:sldLayoutId id="2147483937" r:id="rId5"/>
    <p:sldLayoutId id="2147483938" r:id="rId6"/>
    <p:sldLayoutId id="2147483939" r:id="rId7"/>
    <p:sldLayoutId id="2147483940" r:id="rId8"/>
    <p:sldLayoutId id="2147483941" r:id="rId9"/>
    <p:sldLayoutId id="2147483942" r:id="rId10"/>
    <p:sldLayoutId id="2147483943" r:id="rId11"/>
    <p:sldLayoutId id="2147483944" r:id="rId12"/>
    <p:sldLayoutId id="2147483945" r:id="rId13"/>
    <p:sldLayoutId id="2147483946" r:id="rId14"/>
    <p:sldLayoutId id="2147483947" r:id="rId15"/>
    <p:sldLayoutId id="2147483948" r:id="rId16"/>
    <p:sldLayoutId id="2147483949" r:id="rId17"/>
    <p:sldLayoutId id="2147483950" r:id="rId18"/>
    <p:sldLayoutId id="2147483951" r:id="rId19"/>
    <p:sldLayoutId id="2147483952" r:id="rId20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+mj-lt"/>
          <a:ea typeface="MS PGothic" pitchFamily="34" charset="-128"/>
          <a:cs typeface="MS PGothic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5pPr>
      <a:lvl6pPr marL="4572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9pPr>
    </p:titleStyle>
    <p:bodyStyle>
      <a:lvl1pPr marL="247650" indent="-2476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200">
          <a:solidFill>
            <a:srgbClr val="333333"/>
          </a:solidFill>
          <a:latin typeface="+mn-lt"/>
          <a:ea typeface="MS PGothic" pitchFamily="34" charset="-128"/>
          <a:cs typeface="MS PGothic"/>
        </a:defRPr>
      </a:lvl1pPr>
      <a:lvl2pPr marL="542925" indent="-2936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800">
          <a:solidFill>
            <a:srgbClr val="333333"/>
          </a:solidFill>
          <a:latin typeface="+mn-lt"/>
          <a:ea typeface="MS PGothic" pitchFamily="34" charset="-128"/>
          <a:cs typeface="MS PGothic"/>
        </a:defRPr>
      </a:lvl2pPr>
      <a:lvl3pPr marL="809625" indent="-26511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400">
          <a:solidFill>
            <a:srgbClr val="333333"/>
          </a:solidFill>
          <a:latin typeface="+mn-lt"/>
          <a:ea typeface="MS PGothic" pitchFamily="34" charset="-128"/>
          <a:cs typeface="MS PGothic"/>
        </a:defRPr>
      </a:lvl3pPr>
      <a:lvl4pPr marL="1081088" indent="-2698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400">
          <a:solidFill>
            <a:srgbClr val="333333"/>
          </a:solidFill>
          <a:latin typeface="+mn-lt"/>
          <a:ea typeface="MS PGothic" pitchFamily="34" charset="-128"/>
          <a:cs typeface="MS PGothic"/>
        </a:defRPr>
      </a:lvl4pPr>
      <a:lvl5pPr marL="1352550" indent="-2698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MS PGothic" pitchFamily="34" charset="-128"/>
          <a:cs typeface="MS PGothic"/>
        </a:defRPr>
      </a:lvl5pPr>
      <a:lvl6pPr marL="18097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6pPr>
      <a:lvl7pPr marL="22669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7pPr>
      <a:lvl8pPr marL="27241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8pPr>
      <a:lvl9pPr marL="31813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6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921807084"/>
              </p:ext>
            </p:extLst>
          </p:nvPr>
        </p:nvGraphicFramePr>
        <p:xfrm>
          <a:off x="1629" y="1614"/>
          <a:ext cx="1587" cy="1587"/>
        </p:xfrm>
        <a:graphic>
          <a:graphicData uri="http://schemas.openxmlformats.org/presentationml/2006/ole">
            <p:oleObj spid="_x0000_s36880" name="think-cell Slide" r:id="rId24" imgW="270" imgH="270" progId="">
              <p:embed/>
            </p:oleObj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8151" y="92077"/>
            <a:ext cx="8234363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itle styl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9739" y="1122363"/>
            <a:ext cx="8235950" cy="4781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ext styles</a:t>
            </a:r>
          </a:p>
          <a:p>
            <a:pPr lvl="1"/>
            <a:r>
              <a:rPr lang="en-GB" altLang="en-US" smtClean="0"/>
              <a:t>Second level</a:t>
            </a:r>
          </a:p>
          <a:p>
            <a:pPr lvl="2"/>
            <a:r>
              <a:rPr lang="en-GB" altLang="en-US" smtClean="0"/>
              <a:t>Third level</a:t>
            </a:r>
          </a:p>
          <a:p>
            <a:pPr lvl="3"/>
            <a:r>
              <a:rPr lang="en-GB" altLang="en-US" smtClean="0"/>
              <a:t>Fourth level</a:t>
            </a:r>
          </a:p>
          <a:p>
            <a:pPr lvl="4"/>
            <a:r>
              <a:rPr lang="en-GB" altLang="en-US" smtClean="0"/>
              <a:t>Fif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58025" y="6588293"/>
            <a:ext cx="1905000" cy="26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0" hangingPunct="0">
              <a:spcBef>
                <a:spcPct val="0"/>
              </a:spcBef>
              <a:defRPr sz="1100" baseline="0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D960DEBB-A41E-45E4-958D-B44339878EC9}" type="slidenum">
              <a:rPr lang="en-GB"/>
              <a:pPr fontAlgn="base">
                <a:spcAft>
                  <a:spcPct val="0"/>
                </a:spcAft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2342241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4" r:id="rId1"/>
    <p:sldLayoutId id="2147483955" r:id="rId2"/>
    <p:sldLayoutId id="2147483956" r:id="rId3"/>
    <p:sldLayoutId id="2147483957" r:id="rId4"/>
    <p:sldLayoutId id="2147483958" r:id="rId5"/>
    <p:sldLayoutId id="2147483959" r:id="rId6"/>
    <p:sldLayoutId id="2147483960" r:id="rId7"/>
    <p:sldLayoutId id="2147483961" r:id="rId8"/>
    <p:sldLayoutId id="2147483962" r:id="rId9"/>
    <p:sldLayoutId id="2147483963" r:id="rId10"/>
    <p:sldLayoutId id="2147483964" r:id="rId11"/>
    <p:sldLayoutId id="2147483965" r:id="rId12"/>
    <p:sldLayoutId id="2147483966" r:id="rId13"/>
    <p:sldLayoutId id="2147483967" r:id="rId14"/>
    <p:sldLayoutId id="2147483968" r:id="rId15"/>
    <p:sldLayoutId id="2147483969" r:id="rId16"/>
    <p:sldLayoutId id="2147483970" r:id="rId17"/>
    <p:sldLayoutId id="2147483971" r:id="rId18"/>
    <p:sldLayoutId id="2147483972" r:id="rId19"/>
    <p:sldLayoutId id="2147483973" r:id="rId20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+mj-lt"/>
          <a:ea typeface="MS PGothic" pitchFamily="34" charset="-128"/>
          <a:cs typeface="MS PGothic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5pPr>
      <a:lvl6pPr marL="4572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9pPr>
    </p:titleStyle>
    <p:bodyStyle>
      <a:lvl1pPr marL="247650" indent="-2476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200">
          <a:solidFill>
            <a:srgbClr val="333333"/>
          </a:solidFill>
          <a:latin typeface="+mn-lt"/>
          <a:ea typeface="MS PGothic" pitchFamily="34" charset="-128"/>
          <a:cs typeface="MS PGothic"/>
        </a:defRPr>
      </a:lvl1pPr>
      <a:lvl2pPr marL="542925" indent="-2936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800">
          <a:solidFill>
            <a:srgbClr val="333333"/>
          </a:solidFill>
          <a:latin typeface="+mn-lt"/>
          <a:ea typeface="MS PGothic" pitchFamily="34" charset="-128"/>
          <a:cs typeface="MS PGothic"/>
        </a:defRPr>
      </a:lvl2pPr>
      <a:lvl3pPr marL="809625" indent="-26511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400">
          <a:solidFill>
            <a:srgbClr val="333333"/>
          </a:solidFill>
          <a:latin typeface="+mn-lt"/>
          <a:ea typeface="MS PGothic" pitchFamily="34" charset="-128"/>
          <a:cs typeface="MS PGothic"/>
        </a:defRPr>
      </a:lvl3pPr>
      <a:lvl4pPr marL="1081088" indent="-2698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400">
          <a:solidFill>
            <a:srgbClr val="333333"/>
          </a:solidFill>
          <a:latin typeface="+mn-lt"/>
          <a:ea typeface="MS PGothic" pitchFamily="34" charset="-128"/>
          <a:cs typeface="MS PGothic"/>
        </a:defRPr>
      </a:lvl4pPr>
      <a:lvl5pPr marL="1352550" indent="-2698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MS PGothic" pitchFamily="34" charset="-128"/>
          <a:cs typeface="MS PGothic"/>
        </a:defRPr>
      </a:lvl5pPr>
      <a:lvl6pPr marL="18097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6pPr>
      <a:lvl7pPr marL="22669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7pPr>
      <a:lvl8pPr marL="27241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8pPr>
      <a:lvl9pPr marL="31813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6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381527989"/>
              </p:ext>
            </p:extLst>
          </p:nvPr>
        </p:nvGraphicFramePr>
        <p:xfrm>
          <a:off x="1629" y="1614"/>
          <a:ext cx="1587" cy="1587"/>
        </p:xfrm>
        <a:graphic>
          <a:graphicData uri="http://schemas.openxmlformats.org/presentationml/2006/ole">
            <p:oleObj spid="_x0000_s38928" name="think-cell Slide" r:id="rId24" imgW="270" imgH="270" progId="">
              <p:embed/>
            </p:oleObj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8151" y="92077"/>
            <a:ext cx="8234363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itle styl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9739" y="1122363"/>
            <a:ext cx="8235950" cy="4781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ext styles</a:t>
            </a:r>
          </a:p>
          <a:p>
            <a:pPr lvl="1"/>
            <a:r>
              <a:rPr lang="en-GB" altLang="en-US" smtClean="0"/>
              <a:t>Second level</a:t>
            </a:r>
          </a:p>
          <a:p>
            <a:pPr lvl="2"/>
            <a:r>
              <a:rPr lang="en-GB" altLang="en-US" smtClean="0"/>
              <a:t>Third level</a:t>
            </a:r>
          </a:p>
          <a:p>
            <a:pPr lvl="3"/>
            <a:r>
              <a:rPr lang="en-GB" altLang="en-US" smtClean="0"/>
              <a:t>Fourth level</a:t>
            </a:r>
          </a:p>
          <a:p>
            <a:pPr lvl="4"/>
            <a:r>
              <a:rPr lang="en-GB" altLang="en-US" smtClean="0"/>
              <a:t>Fif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58025" y="6588293"/>
            <a:ext cx="1905000" cy="26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0" hangingPunct="0">
              <a:spcBef>
                <a:spcPct val="0"/>
              </a:spcBef>
              <a:defRPr sz="1100" baseline="0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D960DEBB-A41E-45E4-958D-B44339878EC9}" type="slidenum">
              <a:rPr lang="en-GB"/>
              <a:pPr fontAlgn="base">
                <a:spcAft>
                  <a:spcPct val="0"/>
                </a:spcAft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164552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5" r:id="rId1"/>
    <p:sldLayoutId id="2147483976" r:id="rId2"/>
    <p:sldLayoutId id="2147483977" r:id="rId3"/>
    <p:sldLayoutId id="2147483978" r:id="rId4"/>
    <p:sldLayoutId id="2147483979" r:id="rId5"/>
    <p:sldLayoutId id="2147483980" r:id="rId6"/>
    <p:sldLayoutId id="2147483981" r:id="rId7"/>
    <p:sldLayoutId id="2147483982" r:id="rId8"/>
    <p:sldLayoutId id="2147483983" r:id="rId9"/>
    <p:sldLayoutId id="2147483984" r:id="rId10"/>
    <p:sldLayoutId id="2147483985" r:id="rId11"/>
    <p:sldLayoutId id="2147483986" r:id="rId12"/>
    <p:sldLayoutId id="2147483987" r:id="rId13"/>
    <p:sldLayoutId id="2147483988" r:id="rId14"/>
    <p:sldLayoutId id="2147483989" r:id="rId15"/>
    <p:sldLayoutId id="2147483990" r:id="rId16"/>
    <p:sldLayoutId id="2147483991" r:id="rId17"/>
    <p:sldLayoutId id="2147483992" r:id="rId18"/>
    <p:sldLayoutId id="2147483993" r:id="rId19"/>
    <p:sldLayoutId id="2147483994" r:id="rId20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+mj-lt"/>
          <a:ea typeface="MS PGothic" pitchFamily="34" charset="-128"/>
          <a:cs typeface="MS PGothic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5pPr>
      <a:lvl6pPr marL="4572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9pPr>
    </p:titleStyle>
    <p:bodyStyle>
      <a:lvl1pPr marL="247650" indent="-2476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200">
          <a:solidFill>
            <a:srgbClr val="333333"/>
          </a:solidFill>
          <a:latin typeface="+mn-lt"/>
          <a:ea typeface="MS PGothic" pitchFamily="34" charset="-128"/>
          <a:cs typeface="MS PGothic"/>
        </a:defRPr>
      </a:lvl1pPr>
      <a:lvl2pPr marL="542925" indent="-2936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800">
          <a:solidFill>
            <a:srgbClr val="333333"/>
          </a:solidFill>
          <a:latin typeface="+mn-lt"/>
          <a:ea typeface="MS PGothic" pitchFamily="34" charset="-128"/>
          <a:cs typeface="MS PGothic"/>
        </a:defRPr>
      </a:lvl2pPr>
      <a:lvl3pPr marL="809625" indent="-26511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400">
          <a:solidFill>
            <a:srgbClr val="333333"/>
          </a:solidFill>
          <a:latin typeface="+mn-lt"/>
          <a:ea typeface="MS PGothic" pitchFamily="34" charset="-128"/>
          <a:cs typeface="MS PGothic"/>
        </a:defRPr>
      </a:lvl3pPr>
      <a:lvl4pPr marL="1081088" indent="-2698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400">
          <a:solidFill>
            <a:srgbClr val="333333"/>
          </a:solidFill>
          <a:latin typeface="+mn-lt"/>
          <a:ea typeface="MS PGothic" pitchFamily="34" charset="-128"/>
          <a:cs typeface="MS PGothic"/>
        </a:defRPr>
      </a:lvl4pPr>
      <a:lvl5pPr marL="1352550" indent="-2698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MS PGothic" pitchFamily="34" charset="-128"/>
          <a:cs typeface="MS PGothic"/>
        </a:defRPr>
      </a:lvl5pPr>
      <a:lvl6pPr marL="18097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6pPr>
      <a:lvl7pPr marL="22669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7pPr>
      <a:lvl8pPr marL="27241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8pPr>
      <a:lvl9pPr marL="31813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6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4108617701"/>
              </p:ext>
            </p:extLst>
          </p:nvPr>
        </p:nvGraphicFramePr>
        <p:xfrm>
          <a:off x="1629" y="1614"/>
          <a:ext cx="1587" cy="1587"/>
        </p:xfrm>
        <a:graphic>
          <a:graphicData uri="http://schemas.openxmlformats.org/presentationml/2006/ole">
            <p:oleObj spid="_x0000_s47120" name="think-cell Slide" r:id="rId24" imgW="270" imgH="270" progId="">
              <p:embed/>
            </p:oleObj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8151" y="92077"/>
            <a:ext cx="8234363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itle styl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9739" y="1122363"/>
            <a:ext cx="8235950" cy="4781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ext styles</a:t>
            </a:r>
          </a:p>
          <a:p>
            <a:pPr lvl="1"/>
            <a:r>
              <a:rPr lang="en-GB" altLang="en-US" smtClean="0"/>
              <a:t>Second level</a:t>
            </a:r>
          </a:p>
          <a:p>
            <a:pPr lvl="2"/>
            <a:r>
              <a:rPr lang="en-GB" altLang="en-US" smtClean="0"/>
              <a:t>Third level</a:t>
            </a:r>
          </a:p>
          <a:p>
            <a:pPr lvl="3"/>
            <a:r>
              <a:rPr lang="en-GB" altLang="en-US" smtClean="0"/>
              <a:t>Fourth level</a:t>
            </a:r>
          </a:p>
          <a:p>
            <a:pPr lvl="4"/>
            <a:r>
              <a:rPr lang="en-GB" altLang="en-US" smtClean="0"/>
              <a:t>Fif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58025" y="6588293"/>
            <a:ext cx="1905000" cy="26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0" hangingPunct="0">
              <a:spcBef>
                <a:spcPct val="0"/>
              </a:spcBef>
              <a:defRPr sz="1100" baseline="0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D960DEBB-A41E-45E4-958D-B44339878EC9}" type="slidenum">
              <a:rPr lang="en-GB"/>
              <a:pPr fontAlgn="base">
                <a:spcAft>
                  <a:spcPct val="0"/>
                </a:spcAft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5166858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6" r:id="rId1"/>
    <p:sldLayoutId id="2147483997" r:id="rId2"/>
    <p:sldLayoutId id="2147483998" r:id="rId3"/>
    <p:sldLayoutId id="2147483999" r:id="rId4"/>
    <p:sldLayoutId id="2147484000" r:id="rId5"/>
    <p:sldLayoutId id="2147484001" r:id="rId6"/>
    <p:sldLayoutId id="2147484002" r:id="rId7"/>
    <p:sldLayoutId id="2147484003" r:id="rId8"/>
    <p:sldLayoutId id="2147484004" r:id="rId9"/>
    <p:sldLayoutId id="2147484005" r:id="rId10"/>
    <p:sldLayoutId id="2147484006" r:id="rId11"/>
    <p:sldLayoutId id="2147484007" r:id="rId12"/>
    <p:sldLayoutId id="2147484008" r:id="rId13"/>
    <p:sldLayoutId id="2147484009" r:id="rId14"/>
    <p:sldLayoutId id="2147484010" r:id="rId15"/>
    <p:sldLayoutId id="2147484011" r:id="rId16"/>
    <p:sldLayoutId id="2147484012" r:id="rId17"/>
    <p:sldLayoutId id="2147484013" r:id="rId18"/>
    <p:sldLayoutId id="2147484014" r:id="rId19"/>
    <p:sldLayoutId id="2147484015" r:id="rId20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+mj-lt"/>
          <a:ea typeface="MS PGothic" pitchFamily="34" charset="-128"/>
          <a:cs typeface="MS PGothic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5pPr>
      <a:lvl6pPr marL="4572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9pPr>
    </p:titleStyle>
    <p:bodyStyle>
      <a:lvl1pPr marL="247650" indent="-2476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200">
          <a:solidFill>
            <a:srgbClr val="333333"/>
          </a:solidFill>
          <a:latin typeface="+mn-lt"/>
          <a:ea typeface="MS PGothic" pitchFamily="34" charset="-128"/>
          <a:cs typeface="MS PGothic"/>
        </a:defRPr>
      </a:lvl1pPr>
      <a:lvl2pPr marL="542925" indent="-2936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800">
          <a:solidFill>
            <a:srgbClr val="333333"/>
          </a:solidFill>
          <a:latin typeface="+mn-lt"/>
          <a:ea typeface="MS PGothic" pitchFamily="34" charset="-128"/>
          <a:cs typeface="MS PGothic"/>
        </a:defRPr>
      </a:lvl2pPr>
      <a:lvl3pPr marL="809625" indent="-26511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400">
          <a:solidFill>
            <a:srgbClr val="333333"/>
          </a:solidFill>
          <a:latin typeface="+mn-lt"/>
          <a:ea typeface="MS PGothic" pitchFamily="34" charset="-128"/>
          <a:cs typeface="MS PGothic"/>
        </a:defRPr>
      </a:lvl3pPr>
      <a:lvl4pPr marL="1081088" indent="-2698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400">
          <a:solidFill>
            <a:srgbClr val="333333"/>
          </a:solidFill>
          <a:latin typeface="+mn-lt"/>
          <a:ea typeface="MS PGothic" pitchFamily="34" charset="-128"/>
          <a:cs typeface="MS PGothic"/>
        </a:defRPr>
      </a:lvl4pPr>
      <a:lvl5pPr marL="1352550" indent="-2698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MS PGothic" pitchFamily="34" charset="-128"/>
          <a:cs typeface="MS PGothic"/>
        </a:defRPr>
      </a:lvl5pPr>
      <a:lvl6pPr marL="18097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6pPr>
      <a:lvl7pPr marL="22669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7pPr>
      <a:lvl8pPr marL="27241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8pPr>
      <a:lvl9pPr marL="31813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6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54309674"/>
              </p:ext>
            </p:extLst>
          </p:nvPr>
        </p:nvGraphicFramePr>
        <p:xfrm>
          <a:off x="1629" y="1614"/>
          <a:ext cx="1587" cy="1587"/>
        </p:xfrm>
        <a:graphic>
          <a:graphicData uri="http://schemas.openxmlformats.org/presentationml/2006/ole">
            <p:oleObj spid="_x0000_s49168" name="think-cell Slide" r:id="rId24" imgW="270" imgH="270" progId="">
              <p:embed/>
            </p:oleObj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8151" y="92077"/>
            <a:ext cx="8234363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itle styl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9739" y="1122363"/>
            <a:ext cx="8235950" cy="4781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ext styles</a:t>
            </a:r>
          </a:p>
          <a:p>
            <a:pPr lvl="1"/>
            <a:r>
              <a:rPr lang="en-GB" altLang="en-US" smtClean="0"/>
              <a:t>Second level</a:t>
            </a:r>
          </a:p>
          <a:p>
            <a:pPr lvl="2"/>
            <a:r>
              <a:rPr lang="en-GB" altLang="en-US" smtClean="0"/>
              <a:t>Third level</a:t>
            </a:r>
          </a:p>
          <a:p>
            <a:pPr lvl="3"/>
            <a:r>
              <a:rPr lang="en-GB" altLang="en-US" smtClean="0"/>
              <a:t>Fourth level</a:t>
            </a:r>
          </a:p>
          <a:p>
            <a:pPr lvl="4"/>
            <a:r>
              <a:rPr lang="en-GB" altLang="en-US" smtClean="0"/>
              <a:t>Fif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58025" y="6588293"/>
            <a:ext cx="1905000" cy="26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0" hangingPunct="0">
              <a:spcBef>
                <a:spcPct val="0"/>
              </a:spcBef>
              <a:defRPr sz="1100" baseline="0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D960DEBB-A41E-45E4-958D-B44339878EC9}" type="slidenum">
              <a:rPr lang="en-GB"/>
              <a:pPr fontAlgn="base">
                <a:spcAft>
                  <a:spcPct val="0"/>
                </a:spcAft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0889287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7" r:id="rId1"/>
    <p:sldLayoutId id="2147484018" r:id="rId2"/>
    <p:sldLayoutId id="2147484019" r:id="rId3"/>
    <p:sldLayoutId id="2147484020" r:id="rId4"/>
    <p:sldLayoutId id="2147484021" r:id="rId5"/>
    <p:sldLayoutId id="2147484022" r:id="rId6"/>
    <p:sldLayoutId id="2147484023" r:id="rId7"/>
    <p:sldLayoutId id="2147484024" r:id="rId8"/>
    <p:sldLayoutId id="2147484025" r:id="rId9"/>
    <p:sldLayoutId id="2147484026" r:id="rId10"/>
    <p:sldLayoutId id="2147484027" r:id="rId11"/>
    <p:sldLayoutId id="2147484028" r:id="rId12"/>
    <p:sldLayoutId id="2147484029" r:id="rId13"/>
    <p:sldLayoutId id="2147484030" r:id="rId14"/>
    <p:sldLayoutId id="2147484031" r:id="rId15"/>
    <p:sldLayoutId id="2147484032" r:id="rId16"/>
    <p:sldLayoutId id="2147484033" r:id="rId17"/>
    <p:sldLayoutId id="2147484034" r:id="rId18"/>
    <p:sldLayoutId id="2147484035" r:id="rId19"/>
    <p:sldLayoutId id="2147484036" r:id="rId20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+mj-lt"/>
          <a:ea typeface="MS PGothic" pitchFamily="34" charset="-128"/>
          <a:cs typeface="MS PGothic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5pPr>
      <a:lvl6pPr marL="4572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9pPr>
    </p:titleStyle>
    <p:bodyStyle>
      <a:lvl1pPr marL="247650" indent="-2476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200">
          <a:solidFill>
            <a:srgbClr val="333333"/>
          </a:solidFill>
          <a:latin typeface="+mn-lt"/>
          <a:ea typeface="MS PGothic" pitchFamily="34" charset="-128"/>
          <a:cs typeface="MS PGothic"/>
        </a:defRPr>
      </a:lvl1pPr>
      <a:lvl2pPr marL="542925" indent="-2936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800">
          <a:solidFill>
            <a:srgbClr val="333333"/>
          </a:solidFill>
          <a:latin typeface="+mn-lt"/>
          <a:ea typeface="MS PGothic" pitchFamily="34" charset="-128"/>
          <a:cs typeface="MS PGothic"/>
        </a:defRPr>
      </a:lvl2pPr>
      <a:lvl3pPr marL="809625" indent="-26511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400">
          <a:solidFill>
            <a:srgbClr val="333333"/>
          </a:solidFill>
          <a:latin typeface="+mn-lt"/>
          <a:ea typeface="MS PGothic" pitchFamily="34" charset="-128"/>
          <a:cs typeface="MS PGothic"/>
        </a:defRPr>
      </a:lvl3pPr>
      <a:lvl4pPr marL="1081088" indent="-2698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400">
          <a:solidFill>
            <a:srgbClr val="333333"/>
          </a:solidFill>
          <a:latin typeface="+mn-lt"/>
          <a:ea typeface="MS PGothic" pitchFamily="34" charset="-128"/>
          <a:cs typeface="MS PGothic"/>
        </a:defRPr>
      </a:lvl4pPr>
      <a:lvl5pPr marL="1352550" indent="-2698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MS PGothic" pitchFamily="34" charset="-128"/>
          <a:cs typeface="MS PGothic"/>
        </a:defRPr>
      </a:lvl5pPr>
      <a:lvl6pPr marL="18097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6pPr>
      <a:lvl7pPr marL="22669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7pPr>
      <a:lvl8pPr marL="27241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8pPr>
      <a:lvl9pPr marL="31813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8463" y="112713"/>
            <a:ext cx="8234362" cy="792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que para editar o estilo do título mestr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9738" y="1960563"/>
            <a:ext cx="823595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que para editar os estilos do texto mestre</a:t>
            </a:r>
          </a:p>
          <a:p>
            <a:pPr lvl="1"/>
            <a:r>
              <a:rPr lang="en-GB" smtClean="0"/>
              <a:t>Segundo nível</a:t>
            </a:r>
          </a:p>
          <a:p>
            <a:pPr lvl="2"/>
            <a:r>
              <a:rPr lang="en-GB" smtClean="0"/>
              <a:t>Terceiro nível</a:t>
            </a:r>
          </a:p>
          <a:p>
            <a:pPr lvl="3"/>
            <a:r>
              <a:rPr lang="en-GB" smtClean="0"/>
              <a:t>Quarto nível</a:t>
            </a:r>
          </a:p>
          <a:p>
            <a:pPr lvl="4"/>
            <a:r>
              <a:rPr lang="en-GB" smtClean="0"/>
              <a:t>Quinto nível</a:t>
            </a:r>
          </a:p>
        </p:txBody>
      </p:sp>
      <p:sp>
        <p:nvSpPr>
          <p:cNvPr id="60420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50813" y="6557963"/>
            <a:ext cx="2281237" cy="26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000">
                <a:solidFill>
                  <a:srgbClr val="000000"/>
                </a:solidFill>
                <a:latin typeface="Arial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827D93C-D206-497E-A028-F43705354CA8}" type="datetime1">
              <a:rPr lang="pt-B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1/01/2017</a:t>
            </a:fld>
            <a:endParaRPr lang="en-GB"/>
          </a:p>
        </p:txBody>
      </p:sp>
      <p:sp>
        <p:nvSpPr>
          <p:cNvPr id="60421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50088" y="6553200"/>
            <a:ext cx="1905000" cy="26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100">
                <a:solidFill>
                  <a:srgbClr val="000000"/>
                </a:solidFill>
                <a:latin typeface="Arial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4239557-F7D4-4F21-A91B-94F99BEDB53C}" type="slidenum">
              <a:rPr lang="en-GB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/>
          </a:p>
        </p:txBody>
      </p:sp>
      <p:sp>
        <p:nvSpPr>
          <p:cNvPr id="60422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41663" y="6562725"/>
            <a:ext cx="2895600" cy="26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defRPr sz="1100">
                <a:solidFill>
                  <a:srgbClr val="0D0D0D"/>
                </a:solidFill>
                <a:latin typeface="Arial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Business Area Review –Chicago Jan 2011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42849101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0" r:id="rId1"/>
    <p:sldLayoutId id="2147484051" r:id="rId2"/>
    <p:sldLayoutId id="2147484052" r:id="rId3"/>
    <p:sldLayoutId id="2147484053" r:id="rId4"/>
    <p:sldLayoutId id="2147484054" r:id="rId5"/>
    <p:sldLayoutId id="2147484055" r:id="rId6"/>
    <p:sldLayoutId id="2147484056" r:id="rId7"/>
    <p:sldLayoutId id="2147484057" r:id="rId8"/>
    <p:sldLayoutId id="2147484058" r:id="rId9"/>
    <p:sldLayoutId id="2147484059" r:id="rId10"/>
    <p:sldLayoutId id="2147484060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MS PGothic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MS PGothic" pitchFamily="34" charset="-128"/>
          <a:cs typeface="MS PGothic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MS PGothic" pitchFamily="34" charset="-128"/>
          <a:cs typeface="MS PGothic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MS PGothic" pitchFamily="34" charset="-128"/>
          <a:cs typeface="MS PGothic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MS PGothic" pitchFamily="34" charset="-128"/>
          <a:cs typeface="MS PGothic"/>
        </a:defRPr>
      </a:lvl5pPr>
      <a:lvl6pPr marL="4572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MS PGothic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MS PGothic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MS PGothic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  <a:ea typeface="MS PGothic" pitchFamily="34" charset="-128"/>
        </a:defRPr>
      </a:lvl9pPr>
    </p:titleStyle>
    <p:bodyStyle>
      <a:lvl1pPr marL="247650" indent="-2476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  <a:ea typeface="+mn-ea"/>
          <a:cs typeface="MS PGothic"/>
        </a:defRPr>
      </a:lvl1pPr>
      <a:lvl2pPr marL="542925" indent="-2936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800">
          <a:solidFill>
            <a:schemeClr val="tx1"/>
          </a:solidFill>
          <a:latin typeface="+mn-lt"/>
          <a:ea typeface="+mn-ea"/>
          <a:cs typeface="MS PGothic"/>
        </a:defRPr>
      </a:lvl2pPr>
      <a:lvl3pPr marL="809625" indent="-26511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MS PGothic"/>
        </a:defRPr>
      </a:lvl3pPr>
      <a:lvl4pPr marL="1081088" indent="-2698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400">
          <a:solidFill>
            <a:schemeClr val="tx1"/>
          </a:solidFill>
          <a:latin typeface="+mn-lt"/>
          <a:ea typeface="+mn-ea"/>
          <a:cs typeface="MS PGothic"/>
        </a:defRPr>
      </a:lvl4pPr>
      <a:lvl5pPr marL="1352550" indent="-2698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defRPr sz="1200">
          <a:solidFill>
            <a:schemeClr val="tx1"/>
          </a:solidFill>
          <a:latin typeface="+mn-lt"/>
          <a:ea typeface="+mn-ea"/>
          <a:cs typeface="MS PGothic"/>
        </a:defRPr>
      </a:lvl5pPr>
      <a:lvl6pPr marL="18097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200">
          <a:solidFill>
            <a:schemeClr val="tx1"/>
          </a:solidFill>
          <a:latin typeface="+mn-lt"/>
          <a:ea typeface="+mn-ea"/>
        </a:defRPr>
      </a:lvl6pPr>
      <a:lvl7pPr marL="22669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200">
          <a:solidFill>
            <a:schemeClr val="tx1"/>
          </a:solidFill>
          <a:latin typeface="+mn-lt"/>
          <a:ea typeface="+mn-ea"/>
        </a:defRPr>
      </a:lvl7pPr>
      <a:lvl8pPr marL="27241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200">
          <a:solidFill>
            <a:schemeClr val="tx1"/>
          </a:solidFill>
          <a:latin typeface="+mn-lt"/>
          <a:ea typeface="+mn-ea"/>
        </a:defRPr>
      </a:lvl8pPr>
      <a:lvl9pPr marL="31813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6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547126650"/>
              </p:ext>
            </p:extLst>
          </p:nvPr>
        </p:nvGraphicFramePr>
        <p:xfrm>
          <a:off x="1629" y="1614"/>
          <a:ext cx="1587" cy="1587"/>
        </p:xfrm>
        <a:graphic>
          <a:graphicData uri="http://schemas.openxmlformats.org/presentationml/2006/ole">
            <p:oleObj spid="_x0000_s54286" name="think-cell Slide" r:id="rId24" imgW="270" imgH="270" progId="">
              <p:embed/>
            </p:oleObj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8151" y="92077"/>
            <a:ext cx="8234363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itle styl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9739" y="1122363"/>
            <a:ext cx="8235950" cy="4781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ext styles</a:t>
            </a:r>
          </a:p>
          <a:p>
            <a:pPr lvl="1"/>
            <a:r>
              <a:rPr lang="en-GB" altLang="en-US" smtClean="0"/>
              <a:t>Second level</a:t>
            </a:r>
          </a:p>
          <a:p>
            <a:pPr lvl="2"/>
            <a:r>
              <a:rPr lang="en-GB" altLang="en-US" smtClean="0"/>
              <a:t>Third level</a:t>
            </a:r>
          </a:p>
          <a:p>
            <a:pPr lvl="3"/>
            <a:r>
              <a:rPr lang="en-GB" altLang="en-US" smtClean="0"/>
              <a:t>Fourth level</a:t>
            </a:r>
          </a:p>
          <a:p>
            <a:pPr lvl="4"/>
            <a:r>
              <a:rPr lang="en-GB" altLang="en-US" smtClean="0"/>
              <a:t>Fif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58025" y="6588293"/>
            <a:ext cx="1905000" cy="26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0" hangingPunct="0">
              <a:spcBef>
                <a:spcPct val="0"/>
              </a:spcBef>
              <a:defRPr sz="1100" baseline="0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D960DEBB-A41E-45E4-958D-B44339878EC9}" type="slidenum">
              <a:rPr lang="en-GB"/>
              <a:pPr fontAlgn="base">
                <a:spcAft>
                  <a:spcPct val="0"/>
                </a:spcAft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9788183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3" r:id="rId1"/>
    <p:sldLayoutId id="2147484084" r:id="rId2"/>
    <p:sldLayoutId id="2147484085" r:id="rId3"/>
    <p:sldLayoutId id="2147484086" r:id="rId4"/>
    <p:sldLayoutId id="2147484087" r:id="rId5"/>
    <p:sldLayoutId id="2147484088" r:id="rId6"/>
    <p:sldLayoutId id="2147484089" r:id="rId7"/>
    <p:sldLayoutId id="2147484090" r:id="rId8"/>
    <p:sldLayoutId id="2147484091" r:id="rId9"/>
    <p:sldLayoutId id="2147484092" r:id="rId10"/>
    <p:sldLayoutId id="2147484093" r:id="rId11"/>
    <p:sldLayoutId id="2147484094" r:id="rId12"/>
    <p:sldLayoutId id="2147484095" r:id="rId13"/>
    <p:sldLayoutId id="2147484096" r:id="rId14"/>
    <p:sldLayoutId id="2147484097" r:id="rId15"/>
    <p:sldLayoutId id="2147484098" r:id="rId16"/>
    <p:sldLayoutId id="2147484099" r:id="rId17"/>
    <p:sldLayoutId id="2147484100" r:id="rId18"/>
    <p:sldLayoutId id="2147484101" r:id="rId19"/>
    <p:sldLayoutId id="2147484102" r:id="rId20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+mj-lt"/>
          <a:ea typeface="MS PGothic" pitchFamily="34" charset="-128"/>
          <a:cs typeface="MS PGothic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5pPr>
      <a:lvl6pPr marL="4572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9pPr>
    </p:titleStyle>
    <p:bodyStyle>
      <a:lvl1pPr marL="247650" indent="-2476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200">
          <a:solidFill>
            <a:srgbClr val="333333"/>
          </a:solidFill>
          <a:latin typeface="+mn-lt"/>
          <a:ea typeface="MS PGothic" pitchFamily="34" charset="-128"/>
          <a:cs typeface="MS PGothic"/>
        </a:defRPr>
      </a:lvl1pPr>
      <a:lvl2pPr marL="542925" indent="-2936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800">
          <a:solidFill>
            <a:srgbClr val="333333"/>
          </a:solidFill>
          <a:latin typeface="+mn-lt"/>
          <a:ea typeface="MS PGothic" pitchFamily="34" charset="-128"/>
          <a:cs typeface="MS PGothic"/>
        </a:defRPr>
      </a:lvl2pPr>
      <a:lvl3pPr marL="809625" indent="-26511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400">
          <a:solidFill>
            <a:srgbClr val="333333"/>
          </a:solidFill>
          <a:latin typeface="+mn-lt"/>
          <a:ea typeface="MS PGothic" pitchFamily="34" charset="-128"/>
          <a:cs typeface="MS PGothic"/>
        </a:defRPr>
      </a:lvl3pPr>
      <a:lvl4pPr marL="1081088" indent="-2698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400">
          <a:solidFill>
            <a:srgbClr val="333333"/>
          </a:solidFill>
          <a:latin typeface="+mn-lt"/>
          <a:ea typeface="MS PGothic" pitchFamily="34" charset="-128"/>
          <a:cs typeface="MS PGothic"/>
        </a:defRPr>
      </a:lvl4pPr>
      <a:lvl5pPr marL="1352550" indent="-2698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MS PGothic" pitchFamily="34" charset="-128"/>
          <a:cs typeface="MS PGothic"/>
        </a:defRPr>
      </a:lvl5pPr>
      <a:lvl6pPr marL="18097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6pPr>
      <a:lvl7pPr marL="22669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7pPr>
      <a:lvl8pPr marL="27241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8pPr>
      <a:lvl9pPr marL="31813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6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515326429"/>
              </p:ext>
            </p:extLst>
          </p:nvPr>
        </p:nvGraphicFramePr>
        <p:xfrm>
          <a:off x="1629" y="1614"/>
          <a:ext cx="1587" cy="1587"/>
        </p:xfrm>
        <a:graphic>
          <a:graphicData uri="http://schemas.openxmlformats.org/presentationml/2006/ole">
            <p:oleObj spid="_x0000_s58378" name="think-cell Slide" r:id="rId24" imgW="270" imgH="270" progId="">
              <p:embed/>
            </p:oleObj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8151" y="92077"/>
            <a:ext cx="8234363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itle styl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9739" y="1122363"/>
            <a:ext cx="8235950" cy="4781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ext styles</a:t>
            </a:r>
          </a:p>
          <a:p>
            <a:pPr lvl="1"/>
            <a:r>
              <a:rPr lang="en-GB" altLang="en-US" smtClean="0"/>
              <a:t>Second level</a:t>
            </a:r>
          </a:p>
          <a:p>
            <a:pPr lvl="2"/>
            <a:r>
              <a:rPr lang="en-GB" altLang="en-US" smtClean="0"/>
              <a:t>Third level</a:t>
            </a:r>
          </a:p>
          <a:p>
            <a:pPr lvl="3"/>
            <a:r>
              <a:rPr lang="en-GB" altLang="en-US" smtClean="0"/>
              <a:t>Fourth level</a:t>
            </a:r>
          </a:p>
          <a:p>
            <a:pPr lvl="4"/>
            <a:r>
              <a:rPr lang="en-GB" altLang="en-US" smtClean="0"/>
              <a:t>Fif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58025" y="6588293"/>
            <a:ext cx="1905000" cy="26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0" hangingPunct="0">
              <a:spcBef>
                <a:spcPct val="0"/>
              </a:spcBef>
              <a:defRPr sz="1100" baseline="0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D960DEBB-A41E-45E4-958D-B44339878EC9}" type="slidenum">
              <a:rPr lang="en-GB"/>
              <a:pPr fontAlgn="base">
                <a:spcAft>
                  <a:spcPct val="0"/>
                </a:spcAft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858749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4" r:id="rId1"/>
    <p:sldLayoutId id="2147484105" r:id="rId2"/>
    <p:sldLayoutId id="2147484106" r:id="rId3"/>
    <p:sldLayoutId id="2147484107" r:id="rId4"/>
    <p:sldLayoutId id="2147484108" r:id="rId5"/>
    <p:sldLayoutId id="2147484109" r:id="rId6"/>
    <p:sldLayoutId id="2147484110" r:id="rId7"/>
    <p:sldLayoutId id="2147484111" r:id="rId8"/>
    <p:sldLayoutId id="2147484112" r:id="rId9"/>
    <p:sldLayoutId id="2147484113" r:id="rId10"/>
    <p:sldLayoutId id="2147484114" r:id="rId11"/>
    <p:sldLayoutId id="2147484115" r:id="rId12"/>
    <p:sldLayoutId id="2147484116" r:id="rId13"/>
    <p:sldLayoutId id="2147484117" r:id="rId14"/>
    <p:sldLayoutId id="2147484118" r:id="rId15"/>
    <p:sldLayoutId id="2147484119" r:id="rId16"/>
    <p:sldLayoutId id="2147484120" r:id="rId17"/>
    <p:sldLayoutId id="2147484121" r:id="rId18"/>
    <p:sldLayoutId id="2147484122" r:id="rId19"/>
    <p:sldLayoutId id="2147484123" r:id="rId20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+mj-lt"/>
          <a:ea typeface="MS PGothic" pitchFamily="34" charset="-128"/>
          <a:cs typeface="MS PGothic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5pPr>
      <a:lvl6pPr marL="4572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9pPr>
    </p:titleStyle>
    <p:bodyStyle>
      <a:lvl1pPr marL="247650" indent="-2476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200">
          <a:solidFill>
            <a:srgbClr val="333333"/>
          </a:solidFill>
          <a:latin typeface="+mn-lt"/>
          <a:ea typeface="MS PGothic" pitchFamily="34" charset="-128"/>
          <a:cs typeface="MS PGothic"/>
        </a:defRPr>
      </a:lvl1pPr>
      <a:lvl2pPr marL="542925" indent="-2936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800">
          <a:solidFill>
            <a:srgbClr val="333333"/>
          </a:solidFill>
          <a:latin typeface="+mn-lt"/>
          <a:ea typeface="MS PGothic" pitchFamily="34" charset="-128"/>
          <a:cs typeface="MS PGothic"/>
        </a:defRPr>
      </a:lvl2pPr>
      <a:lvl3pPr marL="809625" indent="-26511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400">
          <a:solidFill>
            <a:srgbClr val="333333"/>
          </a:solidFill>
          <a:latin typeface="+mn-lt"/>
          <a:ea typeface="MS PGothic" pitchFamily="34" charset="-128"/>
          <a:cs typeface="MS PGothic"/>
        </a:defRPr>
      </a:lvl3pPr>
      <a:lvl4pPr marL="1081088" indent="-2698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400">
          <a:solidFill>
            <a:srgbClr val="333333"/>
          </a:solidFill>
          <a:latin typeface="+mn-lt"/>
          <a:ea typeface="MS PGothic" pitchFamily="34" charset="-128"/>
          <a:cs typeface="MS PGothic"/>
        </a:defRPr>
      </a:lvl4pPr>
      <a:lvl5pPr marL="1352550" indent="-2698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MS PGothic" pitchFamily="34" charset="-128"/>
          <a:cs typeface="MS PGothic"/>
        </a:defRPr>
      </a:lvl5pPr>
      <a:lvl6pPr marL="18097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6pPr>
      <a:lvl7pPr marL="22669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7pPr>
      <a:lvl8pPr marL="27241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8pPr>
      <a:lvl9pPr marL="31813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6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582003006"/>
              </p:ext>
            </p:extLst>
          </p:nvPr>
        </p:nvGraphicFramePr>
        <p:xfrm>
          <a:off x="1629" y="1614"/>
          <a:ext cx="1587" cy="1587"/>
        </p:xfrm>
        <a:graphic>
          <a:graphicData uri="http://schemas.openxmlformats.org/presentationml/2006/ole">
            <p:oleObj spid="_x0000_s2064" name="think-cell Slide" r:id="rId24" imgW="270" imgH="270" progId="">
              <p:embed/>
            </p:oleObj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8151" y="92077"/>
            <a:ext cx="8234363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itle styl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9739" y="1122363"/>
            <a:ext cx="8235950" cy="4781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ext styles</a:t>
            </a:r>
          </a:p>
          <a:p>
            <a:pPr lvl="1"/>
            <a:r>
              <a:rPr lang="en-GB" altLang="en-US" smtClean="0"/>
              <a:t>Second level</a:t>
            </a:r>
          </a:p>
          <a:p>
            <a:pPr lvl="2"/>
            <a:r>
              <a:rPr lang="en-GB" altLang="en-US" smtClean="0"/>
              <a:t>Third level</a:t>
            </a:r>
          </a:p>
          <a:p>
            <a:pPr lvl="3"/>
            <a:r>
              <a:rPr lang="en-GB" altLang="en-US" smtClean="0"/>
              <a:t>Fourth level</a:t>
            </a:r>
          </a:p>
          <a:p>
            <a:pPr lvl="4"/>
            <a:r>
              <a:rPr lang="en-GB" altLang="en-US" smtClean="0"/>
              <a:t>Fif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58025" y="6588293"/>
            <a:ext cx="1905000" cy="26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0" hangingPunct="0">
              <a:spcBef>
                <a:spcPct val="0"/>
              </a:spcBef>
              <a:defRPr sz="1100" baseline="0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D960DEBB-A41E-45E4-958D-B44339878EC9}" type="slidenum">
              <a:rPr lang="en-GB"/>
              <a:pPr fontAlgn="base">
                <a:spcAft>
                  <a:spcPct val="0"/>
                </a:spcAft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4180988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+mj-lt"/>
          <a:ea typeface="MS PGothic" pitchFamily="34" charset="-128"/>
          <a:cs typeface="MS PGothic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5pPr>
      <a:lvl6pPr marL="4572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9pPr>
    </p:titleStyle>
    <p:bodyStyle>
      <a:lvl1pPr marL="247650" indent="-2476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200">
          <a:solidFill>
            <a:srgbClr val="333333"/>
          </a:solidFill>
          <a:latin typeface="+mn-lt"/>
          <a:ea typeface="MS PGothic" pitchFamily="34" charset="-128"/>
          <a:cs typeface="MS PGothic"/>
        </a:defRPr>
      </a:lvl1pPr>
      <a:lvl2pPr marL="542925" indent="-2936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800">
          <a:solidFill>
            <a:srgbClr val="333333"/>
          </a:solidFill>
          <a:latin typeface="+mn-lt"/>
          <a:ea typeface="MS PGothic" pitchFamily="34" charset="-128"/>
          <a:cs typeface="MS PGothic"/>
        </a:defRPr>
      </a:lvl2pPr>
      <a:lvl3pPr marL="809625" indent="-26511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400">
          <a:solidFill>
            <a:srgbClr val="333333"/>
          </a:solidFill>
          <a:latin typeface="+mn-lt"/>
          <a:ea typeface="MS PGothic" pitchFamily="34" charset="-128"/>
          <a:cs typeface="MS PGothic"/>
        </a:defRPr>
      </a:lvl3pPr>
      <a:lvl4pPr marL="1081088" indent="-2698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400">
          <a:solidFill>
            <a:srgbClr val="333333"/>
          </a:solidFill>
          <a:latin typeface="+mn-lt"/>
          <a:ea typeface="MS PGothic" pitchFamily="34" charset="-128"/>
          <a:cs typeface="MS PGothic"/>
        </a:defRPr>
      </a:lvl4pPr>
      <a:lvl5pPr marL="1352550" indent="-2698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MS PGothic" pitchFamily="34" charset="-128"/>
          <a:cs typeface="MS PGothic"/>
        </a:defRPr>
      </a:lvl5pPr>
      <a:lvl6pPr marL="18097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6pPr>
      <a:lvl7pPr marL="22669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7pPr>
      <a:lvl8pPr marL="27241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8pPr>
      <a:lvl9pPr marL="31813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6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913942044"/>
              </p:ext>
            </p:extLst>
          </p:nvPr>
        </p:nvGraphicFramePr>
        <p:xfrm>
          <a:off x="1629" y="1614"/>
          <a:ext cx="1587" cy="1587"/>
        </p:xfrm>
        <a:graphic>
          <a:graphicData uri="http://schemas.openxmlformats.org/presentationml/2006/ole">
            <p:oleObj spid="_x0000_s13328" name="think-cell Slide" r:id="rId24" imgW="270" imgH="270" progId="">
              <p:embed/>
            </p:oleObj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8151" y="92077"/>
            <a:ext cx="8234363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itle styl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9739" y="1122363"/>
            <a:ext cx="8235950" cy="4781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ext styles</a:t>
            </a:r>
          </a:p>
          <a:p>
            <a:pPr lvl="1"/>
            <a:r>
              <a:rPr lang="en-GB" altLang="en-US" smtClean="0"/>
              <a:t>Second level</a:t>
            </a:r>
          </a:p>
          <a:p>
            <a:pPr lvl="2"/>
            <a:r>
              <a:rPr lang="en-GB" altLang="en-US" smtClean="0"/>
              <a:t>Third level</a:t>
            </a:r>
          </a:p>
          <a:p>
            <a:pPr lvl="3"/>
            <a:r>
              <a:rPr lang="en-GB" altLang="en-US" smtClean="0"/>
              <a:t>Fourth level</a:t>
            </a:r>
          </a:p>
          <a:p>
            <a:pPr lvl="4"/>
            <a:r>
              <a:rPr lang="en-GB" altLang="en-US" smtClean="0"/>
              <a:t>Fif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58025" y="6588293"/>
            <a:ext cx="1905000" cy="26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0" hangingPunct="0">
              <a:spcBef>
                <a:spcPct val="0"/>
              </a:spcBef>
              <a:defRPr sz="1100" baseline="0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D960DEBB-A41E-45E4-958D-B44339878EC9}" type="slidenum">
              <a:rPr lang="en-GB"/>
              <a:pPr fontAlgn="base">
                <a:spcAft>
                  <a:spcPct val="0"/>
                </a:spcAft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41612749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  <p:sldLayoutId id="2147483752" r:id="rId12"/>
    <p:sldLayoutId id="2147483753" r:id="rId13"/>
    <p:sldLayoutId id="2147483754" r:id="rId14"/>
    <p:sldLayoutId id="2147483755" r:id="rId15"/>
    <p:sldLayoutId id="2147483756" r:id="rId16"/>
    <p:sldLayoutId id="2147483757" r:id="rId17"/>
    <p:sldLayoutId id="2147483758" r:id="rId18"/>
    <p:sldLayoutId id="2147483759" r:id="rId19"/>
    <p:sldLayoutId id="2147483760" r:id="rId20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+mj-lt"/>
          <a:ea typeface="MS PGothic" pitchFamily="34" charset="-128"/>
          <a:cs typeface="MS PGothic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5pPr>
      <a:lvl6pPr marL="4572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9pPr>
    </p:titleStyle>
    <p:bodyStyle>
      <a:lvl1pPr marL="247650" indent="-2476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200">
          <a:solidFill>
            <a:srgbClr val="333333"/>
          </a:solidFill>
          <a:latin typeface="+mn-lt"/>
          <a:ea typeface="MS PGothic" pitchFamily="34" charset="-128"/>
          <a:cs typeface="MS PGothic"/>
        </a:defRPr>
      </a:lvl1pPr>
      <a:lvl2pPr marL="542925" indent="-2936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800">
          <a:solidFill>
            <a:srgbClr val="333333"/>
          </a:solidFill>
          <a:latin typeface="+mn-lt"/>
          <a:ea typeface="MS PGothic" pitchFamily="34" charset="-128"/>
          <a:cs typeface="MS PGothic"/>
        </a:defRPr>
      </a:lvl2pPr>
      <a:lvl3pPr marL="809625" indent="-26511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400">
          <a:solidFill>
            <a:srgbClr val="333333"/>
          </a:solidFill>
          <a:latin typeface="+mn-lt"/>
          <a:ea typeface="MS PGothic" pitchFamily="34" charset="-128"/>
          <a:cs typeface="MS PGothic"/>
        </a:defRPr>
      </a:lvl3pPr>
      <a:lvl4pPr marL="1081088" indent="-2698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400">
          <a:solidFill>
            <a:srgbClr val="333333"/>
          </a:solidFill>
          <a:latin typeface="+mn-lt"/>
          <a:ea typeface="MS PGothic" pitchFamily="34" charset="-128"/>
          <a:cs typeface="MS PGothic"/>
        </a:defRPr>
      </a:lvl4pPr>
      <a:lvl5pPr marL="1352550" indent="-2698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MS PGothic" pitchFamily="34" charset="-128"/>
          <a:cs typeface="MS PGothic"/>
        </a:defRPr>
      </a:lvl5pPr>
      <a:lvl6pPr marL="18097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6pPr>
      <a:lvl7pPr marL="22669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7pPr>
      <a:lvl8pPr marL="27241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8pPr>
      <a:lvl9pPr marL="31813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6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901361492"/>
              </p:ext>
            </p:extLst>
          </p:nvPr>
        </p:nvGraphicFramePr>
        <p:xfrm>
          <a:off x="1629" y="1614"/>
          <a:ext cx="1587" cy="1587"/>
        </p:xfrm>
        <a:graphic>
          <a:graphicData uri="http://schemas.openxmlformats.org/presentationml/2006/ole">
            <p:oleObj spid="_x0000_s15376" name="think-cell Slide" r:id="rId24" imgW="270" imgH="270" progId="">
              <p:embed/>
            </p:oleObj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8151" y="92077"/>
            <a:ext cx="8234363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itle styl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9739" y="1122363"/>
            <a:ext cx="8235950" cy="4781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ext styles</a:t>
            </a:r>
          </a:p>
          <a:p>
            <a:pPr lvl="1"/>
            <a:r>
              <a:rPr lang="en-GB" altLang="en-US" smtClean="0"/>
              <a:t>Second level</a:t>
            </a:r>
          </a:p>
          <a:p>
            <a:pPr lvl="2"/>
            <a:r>
              <a:rPr lang="en-GB" altLang="en-US" smtClean="0"/>
              <a:t>Third level</a:t>
            </a:r>
          </a:p>
          <a:p>
            <a:pPr lvl="3"/>
            <a:r>
              <a:rPr lang="en-GB" altLang="en-US" smtClean="0"/>
              <a:t>Fourth level</a:t>
            </a:r>
          </a:p>
          <a:p>
            <a:pPr lvl="4"/>
            <a:r>
              <a:rPr lang="en-GB" altLang="en-US" smtClean="0"/>
              <a:t>Fif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58025" y="6588293"/>
            <a:ext cx="1905000" cy="26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0" hangingPunct="0">
              <a:spcBef>
                <a:spcPct val="0"/>
              </a:spcBef>
              <a:defRPr sz="1100" baseline="0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D960DEBB-A41E-45E4-958D-B44339878EC9}" type="slidenum">
              <a:rPr lang="en-GB"/>
              <a:pPr fontAlgn="base">
                <a:spcAft>
                  <a:spcPct val="0"/>
                </a:spcAft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4218119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3" r:id="rId12"/>
    <p:sldLayoutId id="2147483774" r:id="rId13"/>
    <p:sldLayoutId id="2147483775" r:id="rId14"/>
    <p:sldLayoutId id="2147483776" r:id="rId15"/>
    <p:sldLayoutId id="2147483777" r:id="rId16"/>
    <p:sldLayoutId id="2147483778" r:id="rId17"/>
    <p:sldLayoutId id="2147483779" r:id="rId18"/>
    <p:sldLayoutId id="2147483780" r:id="rId19"/>
    <p:sldLayoutId id="2147483781" r:id="rId20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+mj-lt"/>
          <a:ea typeface="MS PGothic" pitchFamily="34" charset="-128"/>
          <a:cs typeface="MS PGothic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5pPr>
      <a:lvl6pPr marL="4572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9pPr>
    </p:titleStyle>
    <p:bodyStyle>
      <a:lvl1pPr marL="247650" indent="-2476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200">
          <a:solidFill>
            <a:srgbClr val="333333"/>
          </a:solidFill>
          <a:latin typeface="+mn-lt"/>
          <a:ea typeface="MS PGothic" pitchFamily="34" charset="-128"/>
          <a:cs typeface="MS PGothic"/>
        </a:defRPr>
      </a:lvl1pPr>
      <a:lvl2pPr marL="542925" indent="-2936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800">
          <a:solidFill>
            <a:srgbClr val="333333"/>
          </a:solidFill>
          <a:latin typeface="+mn-lt"/>
          <a:ea typeface="MS PGothic" pitchFamily="34" charset="-128"/>
          <a:cs typeface="MS PGothic"/>
        </a:defRPr>
      </a:lvl2pPr>
      <a:lvl3pPr marL="809625" indent="-26511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400">
          <a:solidFill>
            <a:srgbClr val="333333"/>
          </a:solidFill>
          <a:latin typeface="+mn-lt"/>
          <a:ea typeface="MS PGothic" pitchFamily="34" charset="-128"/>
          <a:cs typeface="MS PGothic"/>
        </a:defRPr>
      </a:lvl3pPr>
      <a:lvl4pPr marL="1081088" indent="-2698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400">
          <a:solidFill>
            <a:srgbClr val="333333"/>
          </a:solidFill>
          <a:latin typeface="+mn-lt"/>
          <a:ea typeface="MS PGothic" pitchFamily="34" charset="-128"/>
          <a:cs typeface="MS PGothic"/>
        </a:defRPr>
      </a:lvl4pPr>
      <a:lvl5pPr marL="1352550" indent="-2698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MS PGothic" pitchFamily="34" charset="-128"/>
          <a:cs typeface="MS PGothic"/>
        </a:defRPr>
      </a:lvl5pPr>
      <a:lvl6pPr marL="18097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6pPr>
      <a:lvl7pPr marL="22669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7pPr>
      <a:lvl8pPr marL="27241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8pPr>
      <a:lvl9pPr marL="31813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6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977113544"/>
              </p:ext>
            </p:extLst>
          </p:nvPr>
        </p:nvGraphicFramePr>
        <p:xfrm>
          <a:off x="1629" y="1614"/>
          <a:ext cx="1587" cy="1587"/>
        </p:xfrm>
        <a:graphic>
          <a:graphicData uri="http://schemas.openxmlformats.org/presentationml/2006/ole">
            <p:oleObj spid="_x0000_s18448" name="think-cell Slide" r:id="rId24" imgW="270" imgH="270" progId="">
              <p:embed/>
            </p:oleObj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8151" y="92077"/>
            <a:ext cx="8234363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itle styl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9739" y="1122363"/>
            <a:ext cx="8235950" cy="4781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ext styles</a:t>
            </a:r>
          </a:p>
          <a:p>
            <a:pPr lvl="1"/>
            <a:r>
              <a:rPr lang="en-GB" altLang="en-US" smtClean="0"/>
              <a:t>Second level</a:t>
            </a:r>
          </a:p>
          <a:p>
            <a:pPr lvl="2"/>
            <a:r>
              <a:rPr lang="en-GB" altLang="en-US" smtClean="0"/>
              <a:t>Third level</a:t>
            </a:r>
          </a:p>
          <a:p>
            <a:pPr lvl="3"/>
            <a:r>
              <a:rPr lang="en-GB" altLang="en-US" smtClean="0"/>
              <a:t>Fourth level</a:t>
            </a:r>
          </a:p>
          <a:p>
            <a:pPr lvl="4"/>
            <a:r>
              <a:rPr lang="en-GB" altLang="en-US" smtClean="0"/>
              <a:t>Fif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58025" y="6588293"/>
            <a:ext cx="1905000" cy="26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0" hangingPunct="0">
              <a:spcBef>
                <a:spcPct val="0"/>
              </a:spcBef>
              <a:defRPr sz="1100" baseline="0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D960DEBB-A41E-45E4-958D-B44339878EC9}" type="slidenum">
              <a:rPr lang="en-GB"/>
              <a:pPr fontAlgn="base">
                <a:spcAft>
                  <a:spcPct val="0"/>
                </a:spcAft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57286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6" r:id="rId2"/>
    <p:sldLayoutId id="2147483797" r:id="rId3"/>
    <p:sldLayoutId id="2147483798" r:id="rId4"/>
    <p:sldLayoutId id="2147483799" r:id="rId5"/>
    <p:sldLayoutId id="2147483800" r:id="rId6"/>
    <p:sldLayoutId id="2147483801" r:id="rId7"/>
    <p:sldLayoutId id="2147483802" r:id="rId8"/>
    <p:sldLayoutId id="2147483803" r:id="rId9"/>
    <p:sldLayoutId id="2147483804" r:id="rId10"/>
    <p:sldLayoutId id="2147483805" r:id="rId11"/>
    <p:sldLayoutId id="2147483806" r:id="rId12"/>
    <p:sldLayoutId id="2147483807" r:id="rId13"/>
    <p:sldLayoutId id="2147483808" r:id="rId14"/>
    <p:sldLayoutId id="2147483809" r:id="rId15"/>
    <p:sldLayoutId id="2147483810" r:id="rId16"/>
    <p:sldLayoutId id="2147483811" r:id="rId17"/>
    <p:sldLayoutId id="2147483812" r:id="rId18"/>
    <p:sldLayoutId id="2147483813" r:id="rId19"/>
    <p:sldLayoutId id="2147483814" r:id="rId20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+mj-lt"/>
          <a:ea typeface="MS PGothic" pitchFamily="34" charset="-128"/>
          <a:cs typeface="MS PGothic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5pPr>
      <a:lvl6pPr marL="4572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9pPr>
    </p:titleStyle>
    <p:bodyStyle>
      <a:lvl1pPr marL="247650" indent="-2476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200">
          <a:solidFill>
            <a:srgbClr val="333333"/>
          </a:solidFill>
          <a:latin typeface="+mn-lt"/>
          <a:ea typeface="MS PGothic" pitchFamily="34" charset="-128"/>
          <a:cs typeface="MS PGothic"/>
        </a:defRPr>
      </a:lvl1pPr>
      <a:lvl2pPr marL="542925" indent="-2936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800">
          <a:solidFill>
            <a:srgbClr val="333333"/>
          </a:solidFill>
          <a:latin typeface="+mn-lt"/>
          <a:ea typeface="MS PGothic" pitchFamily="34" charset="-128"/>
          <a:cs typeface="MS PGothic"/>
        </a:defRPr>
      </a:lvl2pPr>
      <a:lvl3pPr marL="809625" indent="-26511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400">
          <a:solidFill>
            <a:srgbClr val="333333"/>
          </a:solidFill>
          <a:latin typeface="+mn-lt"/>
          <a:ea typeface="MS PGothic" pitchFamily="34" charset="-128"/>
          <a:cs typeface="MS PGothic"/>
        </a:defRPr>
      </a:lvl3pPr>
      <a:lvl4pPr marL="1081088" indent="-2698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400">
          <a:solidFill>
            <a:srgbClr val="333333"/>
          </a:solidFill>
          <a:latin typeface="+mn-lt"/>
          <a:ea typeface="MS PGothic" pitchFamily="34" charset="-128"/>
          <a:cs typeface="MS PGothic"/>
        </a:defRPr>
      </a:lvl4pPr>
      <a:lvl5pPr marL="1352550" indent="-2698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MS PGothic" pitchFamily="34" charset="-128"/>
          <a:cs typeface="MS PGothic"/>
        </a:defRPr>
      </a:lvl5pPr>
      <a:lvl6pPr marL="18097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6pPr>
      <a:lvl7pPr marL="22669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7pPr>
      <a:lvl8pPr marL="27241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8pPr>
      <a:lvl9pPr marL="31813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6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901129989"/>
              </p:ext>
            </p:extLst>
          </p:nvPr>
        </p:nvGraphicFramePr>
        <p:xfrm>
          <a:off x="1629" y="1614"/>
          <a:ext cx="1587" cy="1587"/>
        </p:xfrm>
        <a:graphic>
          <a:graphicData uri="http://schemas.openxmlformats.org/presentationml/2006/ole">
            <p:oleObj spid="_x0000_s24592" name="think-cell Slide" r:id="rId24" imgW="270" imgH="270" progId="">
              <p:embed/>
            </p:oleObj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8151" y="92077"/>
            <a:ext cx="8234363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itle styl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9739" y="1122363"/>
            <a:ext cx="8235950" cy="4781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ext styles</a:t>
            </a:r>
          </a:p>
          <a:p>
            <a:pPr lvl="1"/>
            <a:r>
              <a:rPr lang="en-GB" altLang="en-US" smtClean="0"/>
              <a:t>Second level</a:t>
            </a:r>
          </a:p>
          <a:p>
            <a:pPr lvl="2"/>
            <a:r>
              <a:rPr lang="en-GB" altLang="en-US" smtClean="0"/>
              <a:t>Third level</a:t>
            </a:r>
          </a:p>
          <a:p>
            <a:pPr lvl="3"/>
            <a:r>
              <a:rPr lang="en-GB" altLang="en-US" smtClean="0"/>
              <a:t>Fourth level</a:t>
            </a:r>
          </a:p>
          <a:p>
            <a:pPr lvl="4"/>
            <a:r>
              <a:rPr lang="en-GB" altLang="en-US" smtClean="0"/>
              <a:t>Fif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58025" y="6588293"/>
            <a:ext cx="1905000" cy="26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0" hangingPunct="0">
              <a:spcBef>
                <a:spcPct val="0"/>
              </a:spcBef>
              <a:defRPr sz="1100" baseline="0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D960DEBB-A41E-45E4-958D-B44339878EC9}" type="slidenum">
              <a:rPr lang="en-GB"/>
              <a:pPr fontAlgn="base">
                <a:spcAft>
                  <a:spcPct val="0"/>
                </a:spcAft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891800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7" r:id="rId1"/>
    <p:sldLayoutId id="2147483838" r:id="rId2"/>
    <p:sldLayoutId id="2147483839" r:id="rId3"/>
    <p:sldLayoutId id="2147483840" r:id="rId4"/>
    <p:sldLayoutId id="2147483841" r:id="rId5"/>
    <p:sldLayoutId id="2147483842" r:id="rId6"/>
    <p:sldLayoutId id="2147483843" r:id="rId7"/>
    <p:sldLayoutId id="2147483844" r:id="rId8"/>
    <p:sldLayoutId id="2147483845" r:id="rId9"/>
    <p:sldLayoutId id="2147483846" r:id="rId10"/>
    <p:sldLayoutId id="2147483847" r:id="rId11"/>
    <p:sldLayoutId id="2147483848" r:id="rId12"/>
    <p:sldLayoutId id="2147483849" r:id="rId13"/>
    <p:sldLayoutId id="2147483850" r:id="rId14"/>
    <p:sldLayoutId id="2147483851" r:id="rId15"/>
    <p:sldLayoutId id="2147483852" r:id="rId16"/>
    <p:sldLayoutId id="2147483853" r:id="rId17"/>
    <p:sldLayoutId id="2147483854" r:id="rId18"/>
    <p:sldLayoutId id="2147483855" r:id="rId19"/>
    <p:sldLayoutId id="2147483856" r:id="rId20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+mj-lt"/>
          <a:ea typeface="MS PGothic" pitchFamily="34" charset="-128"/>
          <a:cs typeface="MS PGothic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5pPr>
      <a:lvl6pPr marL="4572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9pPr>
    </p:titleStyle>
    <p:bodyStyle>
      <a:lvl1pPr marL="247650" indent="-2476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200">
          <a:solidFill>
            <a:srgbClr val="333333"/>
          </a:solidFill>
          <a:latin typeface="+mn-lt"/>
          <a:ea typeface="MS PGothic" pitchFamily="34" charset="-128"/>
          <a:cs typeface="MS PGothic"/>
        </a:defRPr>
      </a:lvl1pPr>
      <a:lvl2pPr marL="542925" indent="-2936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800">
          <a:solidFill>
            <a:srgbClr val="333333"/>
          </a:solidFill>
          <a:latin typeface="+mn-lt"/>
          <a:ea typeface="MS PGothic" pitchFamily="34" charset="-128"/>
          <a:cs typeface="MS PGothic"/>
        </a:defRPr>
      </a:lvl2pPr>
      <a:lvl3pPr marL="809625" indent="-26511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400">
          <a:solidFill>
            <a:srgbClr val="333333"/>
          </a:solidFill>
          <a:latin typeface="+mn-lt"/>
          <a:ea typeface="MS PGothic" pitchFamily="34" charset="-128"/>
          <a:cs typeface="MS PGothic"/>
        </a:defRPr>
      </a:lvl3pPr>
      <a:lvl4pPr marL="1081088" indent="-2698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400">
          <a:solidFill>
            <a:srgbClr val="333333"/>
          </a:solidFill>
          <a:latin typeface="+mn-lt"/>
          <a:ea typeface="MS PGothic" pitchFamily="34" charset="-128"/>
          <a:cs typeface="MS PGothic"/>
        </a:defRPr>
      </a:lvl4pPr>
      <a:lvl5pPr marL="1352550" indent="-2698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MS PGothic" pitchFamily="34" charset="-128"/>
          <a:cs typeface="MS PGothic"/>
        </a:defRPr>
      </a:lvl5pPr>
      <a:lvl6pPr marL="18097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6pPr>
      <a:lvl7pPr marL="22669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7pPr>
      <a:lvl8pPr marL="27241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8pPr>
      <a:lvl9pPr marL="31813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6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544297793"/>
              </p:ext>
            </p:extLst>
          </p:nvPr>
        </p:nvGraphicFramePr>
        <p:xfrm>
          <a:off x="1629" y="1614"/>
          <a:ext cx="1587" cy="1587"/>
        </p:xfrm>
        <a:graphic>
          <a:graphicData uri="http://schemas.openxmlformats.org/presentationml/2006/ole">
            <p:oleObj spid="_x0000_s27664" name="think-cell Slide" r:id="rId24" imgW="270" imgH="270" progId="">
              <p:embed/>
            </p:oleObj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8151" y="92077"/>
            <a:ext cx="8234363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itle styl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9739" y="1122363"/>
            <a:ext cx="8235950" cy="4781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ext styles</a:t>
            </a:r>
          </a:p>
          <a:p>
            <a:pPr lvl="1"/>
            <a:r>
              <a:rPr lang="en-GB" altLang="en-US" smtClean="0"/>
              <a:t>Second level</a:t>
            </a:r>
          </a:p>
          <a:p>
            <a:pPr lvl="2"/>
            <a:r>
              <a:rPr lang="en-GB" altLang="en-US" smtClean="0"/>
              <a:t>Third level</a:t>
            </a:r>
          </a:p>
          <a:p>
            <a:pPr lvl="3"/>
            <a:r>
              <a:rPr lang="en-GB" altLang="en-US" smtClean="0"/>
              <a:t>Fourth level</a:t>
            </a:r>
          </a:p>
          <a:p>
            <a:pPr lvl="4"/>
            <a:r>
              <a:rPr lang="en-GB" altLang="en-US" smtClean="0"/>
              <a:t>Fif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58025" y="6588293"/>
            <a:ext cx="1905000" cy="26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0" hangingPunct="0">
              <a:spcBef>
                <a:spcPct val="0"/>
              </a:spcBef>
              <a:defRPr sz="1100" baseline="0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D960DEBB-A41E-45E4-958D-B44339878EC9}" type="slidenum">
              <a:rPr lang="en-GB"/>
              <a:pPr fontAlgn="base">
                <a:spcAft>
                  <a:spcPct val="0"/>
                </a:spcAft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2510605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8" r:id="rId1"/>
    <p:sldLayoutId id="2147483859" r:id="rId2"/>
    <p:sldLayoutId id="2147483860" r:id="rId3"/>
    <p:sldLayoutId id="2147483861" r:id="rId4"/>
    <p:sldLayoutId id="2147483862" r:id="rId5"/>
    <p:sldLayoutId id="2147483863" r:id="rId6"/>
    <p:sldLayoutId id="2147483864" r:id="rId7"/>
    <p:sldLayoutId id="2147483865" r:id="rId8"/>
    <p:sldLayoutId id="2147483866" r:id="rId9"/>
    <p:sldLayoutId id="2147483867" r:id="rId10"/>
    <p:sldLayoutId id="2147483868" r:id="rId11"/>
    <p:sldLayoutId id="2147483869" r:id="rId12"/>
    <p:sldLayoutId id="2147483870" r:id="rId13"/>
    <p:sldLayoutId id="2147483871" r:id="rId14"/>
    <p:sldLayoutId id="2147483872" r:id="rId15"/>
    <p:sldLayoutId id="2147483873" r:id="rId16"/>
    <p:sldLayoutId id="2147483874" r:id="rId17"/>
    <p:sldLayoutId id="2147483875" r:id="rId18"/>
    <p:sldLayoutId id="2147483876" r:id="rId19"/>
    <p:sldLayoutId id="2147483877" r:id="rId20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+mj-lt"/>
          <a:ea typeface="MS PGothic" pitchFamily="34" charset="-128"/>
          <a:cs typeface="MS PGothic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5pPr>
      <a:lvl6pPr marL="4572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9pPr>
    </p:titleStyle>
    <p:bodyStyle>
      <a:lvl1pPr marL="247650" indent="-2476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200">
          <a:solidFill>
            <a:srgbClr val="333333"/>
          </a:solidFill>
          <a:latin typeface="+mn-lt"/>
          <a:ea typeface="MS PGothic" pitchFamily="34" charset="-128"/>
          <a:cs typeface="MS PGothic"/>
        </a:defRPr>
      </a:lvl1pPr>
      <a:lvl2pPr marL="542925" indent="-2936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800">
          <a:solidFill>
            <a:srgbClr val="333333"/>
          </a:solidFill>
          <a:latin typeface="+mn-lt"/>
          <a:ea typeface="MS PGothic" pitchFamily="34" charset="-128"/>
          <a:cs typeface="MS PGothic"/>
        </a:defRPr>
      </a:lvl2pPr>
      <a:lvl3pPr marL="809625" indent="-26511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400">
          <a:solidFill>
            <a:srgbClr val="333333"/>
          </a:solidFill>
          <a:latin typeface="+mn-lt"/>
          <a:ea typeface="MS PGothic" pitchFamily="34" charset="-128"/>
          <a:cs typeface="MS PGothic"/>
        </a:defRPr>
      </a:lvl3pPr>
      <a:lvl4pPr marL="1081088" indent="-2698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400">
          <a:solidFill>
            <a:srgbClr val="333333"/>
          </a:solidFill>
          <a:latin typeface="+mn-lt"/>
          <a:ea typeface="MS PGothic" pitchFamily="34" charset="-128"/>
          <a:cs typeface="MS PGothic"/>
        </a:defRPr>
      </a:lvl4pPr>
      <a:lvl5pPr marL="1352550" indent="-2698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MS PGothic" pitchFamily="34" charset="-128"/>
          <a:cs typeface="MS PGothic"/>
        </a:defRPr>
      </a:lvl5pPr>
      <a:lvl6pPr marL="18097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6pPr>
      <a:lvl7pPr marL="22669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7pPr>
      <a:lvl8pPr marL="27241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8pPr>
      <a:lvl9pPr marL="31813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6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788638490"/>
              </p:ext>
            </p:extLst>
          </p:nvPr>
        </p:nvGraphicFramePr>
        <p:xfrm>
          <a:off x="1629" y="1614"/>
          <a:ext cx="1587" cy="1587"/>
        </p:xfrm>
        <a:graphic>
          <a:graphicData uri="http://schemas.openxmlformats.org/presentationml/2006/ole">
            <p:oleObj spid="_x0000_s30736" name="think-cell Slide" r:id="rId24" imgW="270" imgH="270" progId="">
              <p:embed/>
            </p:oleObj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8151" y="92077"/>
            <a:ext cx="8234363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itle styl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9739" y="1122363"/>
            <a:ext cx="8235950" cy="4781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ext styles</a:t>
            </a:r>
          </a:p>
          <a:p>
            <a:pPr lvl="1"/>
            <a:r>
              <a:rPr lang="en-GB" altLang="en-US" smtClean="0"/>
              <a:t>Second level</a:t>
            </a:r>
          </a:p>
          <a:p>
            <a:pPr lvl="2"/>
            <a:r>
              <a:rPr lang="en-GB" altLang="en-US" smtClean="0"/>
              <a:t>Third level</a:t>
            </a:r>
          </a:p>
          <a:p>
            <a:pPr lvl="3"/>
            <a:r>
              <a:rPr lang="en-GB" altLang="en-US" smtClean="0"/>
              <a:t>Fourth level</a:t>
            </a:r>
          </a:p>
          <a:p>
            <a:pPr lvl="4"/>
            <a:r>
              <a:rPr lang="en-GB" altLang="en-US" smtClean="0"/>
              <a:t>Fif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58025" y="6588293"/>
            <a:ext cx="1905000" cy="26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0" hangingPunct="0">
              <a:spcBef>
                <a:spcPct val="0"/>
              </a:spcBef>
              <a:defRPr sz="1100" baseline="0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D960DEBB-A41E-45E4-958D-B44339878EC9}" type="slidenum">
              <a:rPr lang="en-GB"/>
              <a:pPr fontAlgn="base">
                <a:spcAft>
                  <a:spcPct val="0"/>
                </a:spcAft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1970906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1" r:id="rId1"/>
    <p:sldLayoutId id="2147483892" r:id="rId2"/>
    <p:sldLayoutId id="2147483893" r:id="rId3"/>
    <p:sldLayoutId id="2147483894" r:id="rId4"/>
    <p:sldLayoutId id="2147483895" r:id="rId5"/>
    <p:sldLayoutId id="2147483896" r:id="rId6"/>
    <p:sldLayoutId id="2147483897" r:id="rId7"/>
    <p:sldLayoutId id="2147483898" r:id="rId8"/>
    <p:sldLayoutId id="2147483899" r:id="rId9"/>
    <p:sldLayoutId id="2147483900" r:id="rId10"/>
    <p:sldLayoutId id="2147483901" r:id="rId11"/>
    <p:sldLayoutId id="2147483902" r:id="rId12"/>
    <p:sldLayoutId id="2147483903" r:id="rId13"/>
    <p:sldLayoutId id="2147483904" r:id="rId14"/>
    <p:sldLayoutId id="2147483905" r:id="rId15"/>
    <p:sldLayoutId id="2147483906" r:id="rId16"/>
    <p:sldLayoutId id="2147483907" r:id="rId17"/>
    <p:sldLayoutId id="2147483908" r:id="rId18"/>
    <p:sldLayoutId id="2147483909" r:id="rId19"/>
    <p:sldLayoutId id="2147483910" r:id="rId20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+mj-lt"/>
          <a:ea typeface="MS PGothic" pitchFamily="34" charset="-128"/>
          <a:cs typeface="MS PGothic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5pPr>
      <a:lvl6pPr marL="4572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9pPr>
    </p:titleStyle>
    <p:bodyStyle>
      <a:lvl1pPr marL="247650" indent="-2476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200">
          <a:solidFill>
            <a:srgbClr val="333333"/>
          </a:solidFill>
          <a:latin typeface="+mn-lt"/>
          <a:ea typeface="MS PGothic" pitchFamily="34" charset="-128"/>
          <a:cs typeface="MS PGothic"/>
        </a:defRPr>
      </a:lvl1pPr>
      <a:lvl2pPr marL="542925" indent="-2936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800">
          <a:solidFill>
            <a:srgbClr val="333333"/>
          </a:solidFill>
          <a:latin typeface="+mn-lt"/>
          <a:ea typeface="MS PGothic" pitchFamily="34" charset="-128"/>
          <a:cs typeface="MS PGothic"/>
        </a:defRPr>
      </a:lvl2pPr>
      <a:lvl3pPr marL="809625" indent="-26511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400">
          <a:solidFill>
            <a:srgbClr val="333333"/>
          </a:solidFill>
          <a:latin typeface="+mn-lt"/>
          <a:ea typeface="MS PGothic" pitchFamily="34" charset="-128"/>
          <a:cs typeface="MS PGothic"/>
        </a:defRPr>
      </a:lvl3pPr>
      <a:lvl4pPr marL="1081088" indent="-2698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400">
          <a:solidFill>
            <a:srgbClr val="333333"/>
          </a:solidFill>
          <a:latin typeface="+mn-lt"/>
          <a:ea typeface="MS PGothic" pitchFamily="34" charset="-128"/>
          <a:cs typeface="MS PGothic"/>
        </a:defRPr>
      </a:lvl4pPr>
      <a:lvl5pPr marL="1352550" indent="-2698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MS PGothic" pitchFamily="34" charset="-128"/>
          <a:cs typeface="MS PGothic"/>
        </a:defRPr>
      </a:lvl5pPr>
      <a:lvl6pPr marL="18097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6pPr>
      <a:lvl7pPr marL="22669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7pPr>
      <a:lvl8pPr marL="27241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8pPr>
      <a:lvl9pPr marL="31813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6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66448405"/>
              </p:ext>
            </p:extLst>
          </p:nvPr>
        </p:nvGraphicFramePr>
        <p:xfrm>
          <a:off x="1629" y="1614"/>
          <a:ext cx="1587" cy="1587"/>
        </p:xfrm>
        <a:graphic>
          <a:graphicData uri="http://schemas.openxmlformats.org/presentationml/2006/ole">
            <p:oleObj spid="_x0000_s32784" name="think-cell Slide" r:id="rId24" imgW="270" imgH="270" progId="">
              <p:embed/>
            </p:oleObj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8151" y="92077"/>
            <a:ext cx="8234363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itle styl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9739" y="1122363"/>
            <a:ext cx="8235950" cy="4781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ext styles</a:t>
            </a:r>
          </a:p>
          <a:p>
            <a:pPr lvl="1"/>
            <a:r>
              <a:rPr lang="en-GB" altLang="en-US" smtClean="0"/>
              <a:t>Second level</a:t>
            </a:r>
          </a:p>
          <a:p>
            <a:pPr lvl="2"/>
            <a:r>
              <a:rPr lang="en-GB" altLang="en-US" smtClean="0"/>
              <a:t>Third level</a:t>
            </a:r>
          </a:p>
          <a:p>
            <a:pPr lvl="3"/>
            <a:r>
              <a:rPr lang="en-GB" altLang="en-US" smtClean="0"/>
              <a:t>Fourth level</a:t>
            </a:r>
          </a:p>
          <a:p>
            <a:pPr lvl="4"/>
            <a:r>
              <a:rPr lang="en-GB" altLang="en-US" smtClean="0"/>
              <a:t>Fif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58025" y="6588293"/>
            <a:ext cx="1905000" cy="26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0" hangingPunct="0">
              <a:spcBef>
                <a:spcPct val="0"/>
              </a:spcBef>
              <a:defRPr sz="1100" baseline="0">
                <a:solidFill>
                  <a:srgbClr val="000000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D960DEBB-A41E-45E4-958D-B44339878EC9}" type="slidenum">
              <a:rPr lang="en-GB"/>
              <a:pPr fontAlgn="base">
                <a:spcAft>
                  <a:spcPct val="0"/>
                </a:spcAft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606213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2" r:id="rId1"/>
    <p:sldLayoutId id="2147483913" r:id="rId2"/>
    <p:sldLayoutId id="2147483914" r:id="rId3"/>
    <p:sldLayoutId id="2147483915" r:id="rId4"/>
    <p:sldLayoutId id="2147483916" r:id="rId5"/>
    <p:sldLayoutId id="2147483917" r:id="rId6"/>
    <p:sldLayoutId id="2147483918" r:id="rId7"/>
    <p:sldLayoutId id="2147483919" r:id="rId8"/>
    <p:sldLayoutId id="2147483920" r:id="rId9"/>
    <p:sldLayoutId id="2147483921" r:id="rId10"/>
    <p:sldLayoutId id="2147483922" r:id="rId11"/>
    <p:sldLayoutId id="2147483923" r:id="rId12"/>
    <p:sldLayoutId id="2147483924" r:id="rId13"/>
    <p:sldLayoutId id="2147483925" r:id="rId14"/>
    <p:sldLayoutId id="2147483926" r:id="rId15"/>
    <p:sldLayoutId id="2147483927" r:id="rId16"/>
    <p:sldLayoutId id="2147483928" r:id="rId17"/>
    <p:sldLayoutId id="2147483929" r:id="rId18"/>
    <p:sldLayoutId id="2147483930" r:id="rId19"/>
    <p:sldLayoutId id="2147483931" r:id="rId20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+mj-lt"/>
          <a:ea typeface="MS PGothic" pitchFamily="34" charset="-128"/>
          <a:cs typeface="MS PGothic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5pPr>
      <a:lvl6pPr marL="4572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9pPr>
    </p:titleStyle>
    <p:bodyStyle>
      <a:lvl1pPr marL="247650" indent="-2476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200">
          <a:solidFill>
            <a:srgbClr val="333333"/>
          </a:solidFill>
          <a:latin typeface="+mn-lt"/>
          <a:ea typeface="MS PGothic" pitchFamily="34" charset="-128"/>
          <a:cs typeface="MS PGothic"/>
        </a:defRPr>
      </a:lvl1pPr>
      <a:lvl2pPr marL="542925" indent="-2936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800">
          <a:solidFill>
            <a:srgbClr val="333333"/>
          </a:solidFill>
          <a:latin typeface="+mn-lt"/>
          <a:ea typeface="MS PGothic" pitchFamily="34" charset="-128"/>
          <a:cs typeface="MS PGothic"/>
        </a:defRPr>
      </a:lvl2pPr>
      <a:lvl3pPr marL="809625" indent="-26511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400">
          <a:solidFill>
            <a:srgbClr val="333333"/>
          </a:solidFill>
          <a:latin typeface="+mn-lt"/>
          <a:ea typeface="MS PGothic" pitchFamily="34" charset="-128"/>
          <a:cs typeface="MS PGothic"/>
        </a:defRPr>
      </a:lvl3pPr>
      <a:lvl4pPr marL="1081088" indent="-2698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400">
          <a:solidFill>
            <a:srgbClr val="333333"/>
          </a:solidFill>
          <a:latin typeface="+mn-lt"/>
          <a:ea typeface="MS PGothic" pitchFamily="34" charset="-128"/>
          <a:cs typeface="MS PGothic"/>
        </a:defRPr>
      </a:lvl4pPr>
      <a:lvl5pPr marL="1352550" indent="-2698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MS PGothic" pitchFamily="34" charset="-128"/>
          <a:cs typeface="MS PGothic"/>
        </a:defRPr>
      </a:lvl5pPr>
      <a:lvl6pPr marL="18097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6pPr>
      <a:lvl7pPr marL="22669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7pPr>
      <a:lvl8pPr marL="27241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8pPr>
      <a:lvl9pPr marL="31813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9.jpeg"/><Relationship Id="rId4" Type="http://schemas.openxmlformats.org/officeDocument/2006/relationships/oleObject" Target="../embeddings/oleObject3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3.xml"/><Relationship Id="rId2" Type="http://schemas.openxmlformats.org/officeDocument/2006/relationships/tags" Target="../tags/tag9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9.jpeg"/><Relationship Id="rId5" Type="http://schemas.openxmlformats.org/officeDocument/2006/relationships/oleObject" Target="../embeddings/oleObject41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20.jpeg"/><Relationship Id="rId5" Type="http://schemas.openxmlformats.org/officeDocument/2006/relationships/oleObject" Target="../embeddings/oleObject42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21.png"/><Relationship Id="rId5" Type="http://schemas.openxmlformats.org/officeDocument/2006/relationships/oleObject" Target="../embeddings/oleObject43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2.png"/><Relationship Id="rId5" Type="http://schemas.openxmlformats.org/officeDocument/2006/relationships/oleObject" Target="../embeddings/oleObject44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3.xml"/><Relationship Id="rId7" Type="http://schemas.openxmlformats.org/officeDocument/2006/relationships/image" Target="../media/image17.png"/><Relationship Id="rId2" Type="http://schemas.openxmlformats.org/officeDocument/2006/relationships/tags" Target="../tags/tag13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3.png"/><Relationship Id="rId5" Type="http://schemas.openxmlformats.org/officeDocument/2006/relationships/oleObject" Target="../embeddings/oleObject45.bin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emf"/><Relationship Id="rId3" Type="http://schemas.openxmlformats.org/officeDocument/2006/relationships/slideLayout" Target="../slideLayouts/slideLayout294.xml"/><Relationship Id="rId7" Type="http://schemas.openxmlformats.org/officeDocument/2006/relationships/image" Target="../media/image25.png"/><Relationship Id="rId2" Type="http://schemas.openxmlformats.org/officeDocument/2006/relationships/tags" Target="../tags/tag14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24.png"/><Relationship Id="rId5" Type="http://schemas.openxmlformats.org/officeDocument/2006/relationships/oleObject" Target="../embeddings/oleObject46.bin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microsoft.com/office/2007/relationships/hdphoto" Target="../media/hdphoto2.wdp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78.xml"/><Relationship Id="rId6" Type="http://schemas.openxmlformats.org/officeDocument/2006/relationships/image" Target="../media/image28.png"/><Relationship Id="rId5" Type="http://schemas.openxmlformats.org/officeDocument/2006/relationships/image" Target="../media/image25.png"/><Relationship Id="rId4" Type="http://schemas.microsoft.com/office/2007/relationships/hdphoto" Target="../media/hdphoto1.wdp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78.xml"/><Relationship Id="rId4" Type="http://schemas.microsoft.com/office/2007/relationships/hdphoto" Target="../media/hdphoto3.wdp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47.vml"/><Relationship Id="rId6" Type="http://schemas.openxmlformats.org/officeDocument/2006/relationships/oleObject" Target="../embeddings/oleObject47.bin"/><Relationship Id="rId5" Type="http://schemas.openxmlformats.org/officeDocument/2006/relationships/image" Target="../media/image30.jpeg"/><Relationship Id="rId4" Type="http://schemas.openxmlformats.org/officeDocument/2006/relationships/notesSlide" Target="../notesSlides/notesSlide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1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0.png"/><Relationship Id="rId5" Type="http://schemas.openxmlformats.org/officeDocument/2006/relationships/oleObject" Target="../embeddings/oleObject33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3.xml"/><Relationship Id="rId2" Type="http://schemas.openxmlformats.org/officeDocument/2006/relationships/tags" Target="../tags/tag2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1.png"/><Relationship Id="rId5" Type="http://schemas.openxmlformats.org/officeDocument/2006/relationships/oleObject" Target="../embeddings/oleObject34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3.xml"/><Relationship Id="rId2" Type="http://schemas.openxmlformats.org/officeDocument/2006/relationships/tags" Target="../tags/tag3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2.png"/><Relationship Id="rId5" Type="http://schemas.openxmlformats.org/officeDocument/2006/relationships/oleObject" Target="../embeddings/oleObject35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4.xml"/><Relationship Id="rId2" Type="http://schemas.openxmlformats.org/officeDocument/2006/relationships/tags" Target="../tags/tag4.xml"/><Relationship Id="rId1" Type="http://schemas.openxmlformats.org/officeDocument/2006/relationships/vmlDrawing" Target="../drawings/vmlDrawing36.vml"/><Relationship Id="rId6" Type="http://schemas.openxmlformats.org/officeDocument/2006/relationships/oleObject" Target="../embeddings/oleObject36.bin"/><Relationship Id="rId5" Type="http://schemas.openxmlformats.org/officeDocument/2006/relationships/image" Target="../media/image13.jpeg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3.xml"/><Relationship Id="rId2" Type="http://schemas.openxmlformats.org/officeDocument/2006/relationships/tags" Target="../tags/tag5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4.jpeg"/><Relationship Id="rId5" Type="http://schemas.openxmlformats.org/officeDocument/2006/relationships/oleObject" Target="../embeddings/oleObject37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3.xml"/><Relationship Id="rId2" Type="http://schemas.openxmlformats.org/officeDocument/2006/relationships/tags" Target="../tags/tag6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5.png"/><Relationship Id="rId5" Type="http://schemas.openxmlformats.org/officeDocument/2006/relationships/oleObject" Target="../embeddings/oleObject38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3.xml"/><Relationship Id="rId7" Type="http://schemas.openxmlformats.org/officeDocument/2006/relationships/image" Target="../media/image17.png"/><Relationship Id="rId2" Type="http://schemas.openxmlformats.org/officeDocument/2006/relationships/tags" Target="../tags/tag7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6.png"/><Relationship Id="rId5" Type="http://schemas.openxmlformats.org/officeDocument/2006/relationships/oleObject" Target="../embeddings/oleObject39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3.xml"/><Relationship Id="rId2" Type="http://schemas.openxmlformats.org/officeDocument/2006/relationships/tags" Target="../tags/tag8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8.jpeg"/><Relationship Id="rId5" Type="http://schemas.openxmlformats.org/officeDocument/2006/relationships/oleObject" Target="../embeddings/oleObject40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492660339"/>
              </p:ext>
            </p:extLst>
          </p:nvPr>
        </p:nvGraphicFramePr>
        <p:xfrm>
          <a:off x="1629" y="1614"/>
          <a:ext cx="1587" cy="1587"/>
        </p:xfrm>
        <a:graphic>
          <a:graphicData uri="http://schemas.openxmlformats.org/presentationml/2006/ole">
            <p:oleObj spid="_x0000_s8208" name="think-cell Slide" r:id="rId4" imgW="360" imgH="360" progId="">
              <p:embed/>
            </p:oleObj>
          </a:graphicData>
        </a:graphic>
      </p:graphicFrame>
      <p:sp>
        <p:nvSpPr>
          <p:cNvPr id="1028" name="Rectangle 6"/>
          <p:cNvSpPr>
            <a:spLocks noChangeArrowheads="1"/>
          </p:cNvSpPr>
          <p:nvPr/>
        </p:nvSpPr>
        <p:spPr bwMode="auto">
          <a:xfrm>
            <a:off x="454025" y="4384849"/>
            <a:ext cx="8247063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8" name="Picture 7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flipH="1">
            <a:off x="179512" y="2268190"/>
            <a:ext cx="8784976" cy="44326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370525" y="5899338"/>
            <a:ext cx="643570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CR" sz="3000" dirty="0">
                <a:solidFill>
                  <a:srgbClr val="FFFFFF"/>
                </a:solidFill>
              </a:rPr>
              <a:t>ArcelorMittal Costa </a:t>
            </a:r>
            <a:r>
              <a:rPr lang="es-CR" sz="3000" dirty="0" smtClean="0">
                <a:solidFill>
                  <a:srgbClr val="FFFFFF"/>
                </a:solidFill>
              </a:rPr>
              <a:t>Rica</a:t>
            </a:r>
            <a:endParaRPr lang="es-CR" sz="30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3057506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Object 446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543064192"/>
              </p:ext>
            </p:extLst>
          </p:nvPr>
        </p:nvGraphicFramePr>
        <p:xfrm>
          <a:off x="1629" y="1614"/>
          <a:ext cx="1587" cy="1587"/>
        </p:xfrm>
        <a:graphic>
          <a:graphicData uri="http://schemas.openxmlformats.org/presentationml/2006/ole">
            <p:oleObj spid="_x0000_s42001" name="think-cell Slide" r:id="rId5" imgW="270" imgH="270" progId="">
              <p:embed/>
            </p:oleObj>
          </a:graphicData>
        </a:graphic>
      </p:graphicFrame>
      <p:sp>
        <p:nvSpPr>
          <p:cNvPr id="5124" name="Rectangle 16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spc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altLang="en-US" sz="1000" dirty="0">
              <a:solidFill>
                <a:srgbClr val="FAFFFF"/>
              </a:solidFill>
              <a:cs typeface="Arial"/>
              <a:sym typeface="Arial"/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370085" y="476672"/>
            <a:ext cx="8234363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+mj-lt"/>
                <a:ea typeface="MS PGothic" pitchFamily="34" charset="-128"/>
                <a:cs typeface="MS PGothic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altLang="es-CR" sz="3200" dirty="0" smtClean="0">
                <a:solidFill>
                  <a:srgbClr val="FF3700"/>
                </a:solidFill>
                <a:ea typeface="MS PGothic"/>
                <a:cs typeface="+mn-cs"/>
              </a:rPr>
              <a:t>Our Main </a:t>
            </a:r>
            <a:r>
              <a:rPr lang="en-US" altLang="es-CR" sz="3200" dirty="0" smtClean="0">
                <a:solidFill>
                  <a:srgbClr val="FF3700"/>
                </a:solidFill>
                <a:ea typeface="MS PGothic"/>
                <a:cs typeface="+mn-cs"/>
              </a:rPr>
              <a:t>Office</a:t>
            </a:r>
            <a:endParaRPr lang="en-US" altLang="es-CR" sz="3200" dirty="0">
              <a:solidFill>
                <a:srgbClr val="FF3700"/>
              </a:solidFill>
              <a:ea typeface="MS PGothic"/>
              <a:cs typeface="+mn-cs"/>
            </a:endParaRPr>
          </a:p>
        </p:txBody>
      </p:sp>
      <p:pic>
        <p:nvPicPr>
          <p:cNvPr id="9" name="8 Imagen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916832"/>
            <a:ext cx="9144000" cy="4248472"/>
          </a:xfrm>
          <a:prstGeom prst="rect">
            <a:avLst/>
          </a:prstGeom>
        </p:spPr>
      </p:pic>
      <p:grpSp>
        <p:nvGrpSpPr>
          <p:cNvPr id="10" name="9 Grupo"/>
          <p:cNvGrpSpPr/>
          <p:nvPr/>
        </p:nvGrpSpPr>
        <p:grpSpPr>
          <a:xfrm>
            <a:off x="5364088" y="1916832"/>
            <a:ext cx="3851920" cy="4248472"/>
            <a:chOff x="5369068" y="1844824"/>
            <a:chExt cx="3851920" cy="4248472"/>
          </a:xfrm>
        </p:grpSpPr>
        <p:sp>
          <p:nvSpPr>
            <p:cNvPr id="15" name="14 Rectángulo"/>
            <p:cNvSpPr/>
            <p:nvPr/>
          </p:nvSpPr>
          <p:spPr>
            <a:xfrm>
              <a:off x="5369068" y="1844824"/>
              <a:ext cx="3779912" cy="4248472"/>
            </a:xfrm>
            <a:prstGeom prst="rect">
              <a:avLst/>
            </a:prstGeom>
            <a:solidFill>
              <a:schemeClr val="bg1">
                <a:lumMod val="50000"/>
                <a:alpha val="56000"/>
              </a:schemeClr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R">
                <a:solidFill>
                  <a:prstClr val="white"/>
                </a:solidFill>
              </a:endParaRPr>
            </a:p>
          </p:txBody>
        </p:sp>
        <p:sp>
          <p:nvSpPr>
            <p:cNvPr id="16" name="15 CuadroTexto"/>
            <p:cNvSpPr txBox="1"/>
            <p:nvPr/>
          </p:nvSpPr>
          <p:spPr>
            <a:xfrm>
              <a:off x="5404564" y="2132856"/>
              <a:ext cx="3816424" cy="3323949"/>
            </a:xfrm>
            <a:prstGeom prst="rect">
              <a:avLst/>
            </a:prstGeom>
            <a:noFill/>
          </p:spPr>
          <p:txBody>
            <a:bodyPr wrap="square" lIns="91402" tIns="45701" rIns="91402" bIns="45701" rtlCol="0">
              <a:spAutoFit/>
            </a:bodyPr>
            <a:lstStyle/>
            <a:p>
              <a:endParaRPr lang="en-US" sz="2000" b="1" dirty="0">
                <a:solidFill>
                  <a:prstClr val="white"/>
                </a:solidFill>
                <a:latin typeface="VAGRounded-Light" pitchFamily="34" charset="0"/>
              </a:endParaRPr>
            </a:p>
            <a:p>
              <a:endParaRPr lang="en-US" sz="2000" b="1" dirty="0">
                <a:solidFill>
                  <a:prstClr val="white"/>
                </a:solidFill>
                <a:latin typeface="VAGRounded-Light" pitchFamily="34" charset="0"/>
              </a:endParaRPr>
            </a:p>
            <a:p>
              <a:endParaRPr lang="en-US" sz="2000" b="1" dirty="0">
                <a:solidFill>
                  <a:prstClr val="white"/>
                </a:solidFill>
                <a:latin typeface="VAGRounded-Light" pitchFamily="34" charset="0"/>
              </a:endParaRPr>
            </a:p>
            <a:p>
              <a:r>
                <a:rPr lang="en-US" sz="2000" b="1" dirty="0">
                  <a:solidFill>
                    <a:prstClr val="white"/>
                  </a:solidFill>
                </a:rPr>
                <a:t>Location: </a:t>
              </a:r>
            </a:p>
            <a:p>
              <a:r>
                <a:rPr lang="en-US" sz="2000" dirty="0">
                  <a:solidFill>
                    <a:prstClr val="white"/>
                  </a:solidFill>
                </a:rPr>
                <a:t>Escazu, San Jose.</a:t>
              </a:r>
            </a:p>
            <a:p>
              <a:endParaRPr lang="en-US" sz="2000" b="1" dirty="0">
                <a:solidFill>
                  <a:prstClr val="white"/>
                </a:solidFill>
              </a:endParaRPr>
            </a:p>
            <a:p>
              <a:r>
                <a:rPr lang="en-US" sz="2000" b="1" dirty="0">
                  <a:solidFill>
                    <a:prstClr val="white"/>
                  </a:solidFill>
                </a:rPr>
                <a:t>Headcount: </a:t>
              </a:r>
            </a:p>
            <a:p>
              <a:r>
                <a:rPr lang="en-US" sz="2000" dirty="0" smtClean="0">
                  <a:solidFill>
                    <a:prstClr val="white"/>
                  </a:solidFill>
                </a:rPr>
                <a:t>32 </a:t>
              </a:r>
              <a:r>
                <a:rPr lang="en-US" sz="2000" dirty="0">
                  <a:solidFill>
                    <a:prstClr val="white"/>
                  </a:solidFill>
                </a:rPr>
                <a:t>employees.</a:t>
              </a:r>
            </a:p>
            <a:p>
              <a:endParaRPr lang="en-US" sz="2000" b="1" dirty="0">
                <a:solidFill>
                  <a:prstClr val="white"/>
                </a:solidFill>
                <a:latin typeface="VAGRounded-Light" pitchFamily="34" charset="0"/>
              </a:endParaRPr>
            </a:p>
            <a:p>
              <a:endParaRPr lang="en-US" sz="1600" dirty="0">
                <a:solidFill>
                  <a:prstClr val="white">
                    <a:lumMod val="95000"/>
                  </a:prstClr>
                </a:solidFill>
                <a:latin typeface="VAGRounded-Light" pitchFamily="34" charset="0"/>
              </a:endParaRPr>
            </a:p>
            <a:p>
              <a:pPr algn="just"/>
              <a:endParaRPr lang="en-US" sz="1400" dirty="0">
                <a:solidFill>
                  <a:prstClr val="white"/>
                </a:solidFill>
                <a:latin typeface="VAGRounded"/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108561094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Object 446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329676444"/>
              </p:ext>
            </p:extLst>
          </p:nvPr>
        </p:nvGraphicFramePr>
        <p:xfrm>
          <a:off x="1629" y="1614"/>
          <a:ext cx="1587" cy="1587"/>
        </p:xfrm>
        <a:graphic>
          <a:graphicData uri="http://schemas.openxmlformats.org/presentationml/2006/ole">
            <p:oleObj spid="_x0000_s43024" name="think-cell Slide" r:id="rId5" imgW="270" imgH="270" progId="">
              <p:embed/>
            </p:oleObj>
          </a:graphicData>
        </a:graphic>
      </p:graphicFrame>
      <p:sp>
        <p:nvSpPr>
          <p:cNvPr id="5124" name="Rectangle 16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spc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altLang="en-US" sz="1000" dirty="0">
              <a:solidFill>
                <a:srgbClr val="FAFFFF"/>
              </a:solidFill>
              <a:cs typeface="Arial"/>
              <a:sym typeface="Arial"/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370085" y="476597"/>
            <a:ext cx="8234363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+mj-lt"/>
                <a:ea typeface="MS PGothic" pitchFamily="34" charset="-128"/>
                <a:cs typeface="MS PGothic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altLang="es-CR" sz="3200" dirty="0" smtClean="0">
                <a:solidFill>
                  <a:srgbClr val="FF3700"/>
                </a:solidFill>
                <a:ea typeface="MS PGothic"/>
                <a:cs typeface="+mn-cs"/>
              </a:rPr>
              <a:t>Our Distribution</a:t>
            </a:r>
            <a:r>
              <a:rPr lang="en-US" altLang="es-CR" sz="5000" dirty="0" smtClean="0">
                <a:solidFill>
                  <a:srgbClr val="FF3700"/>
                </a:solidFill>
                <a:ea typeface="MS PGothic"/>
                <a:cs typeface="+mn-cs"/>
              </a:rPr>
              <a:t> </a:t>
            </a:r>
            <a:r>
              <a:rPr lang="en-US" altLang="es-CR" sz="3200" dirty="0" smtClean="0">
                <a:solidFill>
                  <a:srgbClr val="FF3700"/>
                </a:solidFill>
                <a:ea typeface="MS PGothic"/>
                <a:cs typeface="+mn-cs"/>
              </a:rPr>
              <a:t>Center</a:t>
            </a:r>
            <a:endParaRPr lang="en-US" altLang="es-CR" sz="3200" dirty="0">
              <a:solidFill>
                <a:srgbClr val="FF3700"/>
              </a:solidFill>
              <a:ea typeface="MS PGothic"/>
              <a:cs typeface="+mn-cs"/>
            </a:endParaRPr>
          </a:p>
        </p:txBody>
      </p:sp>
      <p:pic>
        <p:nvPicPr>
          <p:cNvPr id="11" name="10 Imagen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905467"/>
            <a:ext cx="9180512" cy="4320480"/>
          </a:xfrm>
          <a:prstGeom prst="rect">
            <a:avLst/>
          </a:prstGeom>
        </p:spPr>
      </p:pic>
      <p:grpSp>
        <p:nvGrpSpPr>
          <p:cNvPr id="12" name="11 Grupo"/>
          <p:cNvGrpSpPr/>
          <p:nvPr/>
        </p:nvGrpSpPr>
        <p:grpSpPr>
          <a:xfrm>
            <a:off x="-36512" y="1932457"/>
            <a:ext cx="3851920" cy="4376863"/>
            <a:chOff x="0" y="1757050"/>
            <a:chExt cx="3851920" cy="4376863"/>
          </a:xfrm>
        </p:grpSpPr>
        <p:sp>
          <p:nvSpPr>
            <p:cNvPr id="13" name="12 Rectángulo"/>
            <p:cNvSpPr/>
            <p:nvPr/>
          </p:nvSpPr>
          <p:spPr>
            <a:xfrm>
              <a:off x="0" y="1757050"/>
              <a:ext cx="3779912" cy="4320480"/>
            </a:xfrm>
            <a:prstGeom prst="rect">
              <a:avLst/>
            </a:prstGeom>
            <a:solidFill>
              <a:schemeClr val="bg1">
                <a:lumMod val="50000"/>
                <a:alpha val="56000"/>
              </a:schemeClr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4" name="13 CuadroTexto"/>
            <p:cNvSpPr txBox="1"/>
            <p:nvPr/>
          </p:nvSpPr>
          <p:spPr>
            <a:xfrm>
              <a:off x="35496" y="2132856"/>
              <a:ext cx="3816424" cy="4001057"/>
            </a:xfrm>
            <a:prstGeom prst="rect">
              <a:avLst/>
            </a:prstGeom>
            <a:noFill/>
          </p:spPr>
          <p:txBody>
            <a:bodyPr wrap="square" lIns="91402" tIns="45701" rIns="91402" bIns="45701" rtlCol="0">
              <a:spAutoFit/>
            </a:bodyPr>
            <a:lstStyle/>
            <a:p>
              <a:r>
                <a:rPr lang="en-US" sz="2000" b="1" dirty="0">
                  <a:solidFill>
                    <a:prstClr val="white"/>
                  </a:solidFill>
                </a:rPr>
                <a:t>Location: </a:t>
              </a:r>
            </a:p>
            <a:p>
              <a:r>
                <a:rPr lang="en-US" sz="2000" dirty="0">
                  <a:solidFill>
                    <a:prstClr val="white"/>
                  </a:solidFill>
                </a:rPr>
                <a:t>Tibas, San Jose.</a:t>
              </a:r>
            </a:p>
            <a:p>
              <a:endParaRPr lang="en-US" sz="2000" b="1" dirty="0">
                <a:solidFill>
                  <a:prstClr val="white"/>
                </a:solidFill>
              </a:endParaRPr>
            </a:p>
            <a:p>
              <a:r>
                <a:rPr lang="en-US" sz="2000" b="1" dirty="0">
                  <a:solidFill>
                    <a:prstClr val="white"/>
                  </a:solidFill>
                </a:rPr>
                <a:t>Headcount: </a:t>
              </a:r>
            </a:p>
            <a:p>
              <a:r>
                <a:rPr lang="en-US" sz="2000" dirty="0" smtClean="0">
                  <a:solidFill>
                    <a:prstClr val="white"/>
                  </a:solidFill>
                </a:rPr>
                <a:t>12 employees</a:t>
              </a:r>
              <a:r>
                <a:rPr lang="en-US" sz="2000" dirty="0">
                  <a:solidFill>
                    <a:prstClr val="white"/>
                  </a:solidFill>
                </a:rPr>
                <a:t>.</a:t>
              </a:r>
            </a:p>
            <a:p>
              <a:endParaRPr lang="en-US" sz="2000" b="1" dirty="0">
                <a:solidFill>
                  <a:prstClr val="white"/>
                </a:solidFill>
              </a:endParaRPr>
            </a:p>
            <a:p>
              <a:r>
                <a:rPr lang="en-US" sz="2000" b="1" dirty="0">
                  <a:solidFill>
                    <a:prstClr val="white"/>
                  </a:solidFill>
                </a:rPr>
                <a:t>Extension: </a:t>
              </a:r>
            </a:p>
            <a:p>
              <a:r>
                <a:rPr lang="en-US" sz="2000" dirty="0">
                  <a:solidFill>
                    <a:prstClr val="white"/>
                  </a:solidFill>
                </a:rPr>
                <a:t>13.489 m2</a:t>
              </a:r>
            </a:p>
            <a:p>
              <a:endParaRPr lang="en-US" sz="2000" b="1" dirty="0">
                <a:solidFill>
                  <a:prstClr val="white"/>
                </a:solidFill>
              </a:endParaRPr>
            </a:p>
            <a:p>
              <a:r>
                <a:rPr lang="en-US" altLang="es-ES" sz="2000" b="1" dirty="0">
                  <a:solidFill>
                    <a:prstClr val="white"/>
                  </a:solidFill>
                </a:rPr>
                <a:t>Activity </a:t>
              </a:r>
              <a:r>
                <a:rPr lang="en-US" sz="2000" b="1" dirty="0">
                  <a:solidFill>
                    <a:prstClr val="white"/>
                  </a:solidFill>
                </a:rPr>
                <a:t>: </a:t>
              </a:r>
            </a:p>
            <a:p>
              <a:r>
                <a:rPr lang="en-US" sz="2000" dirty="0">
                  <a:solidFill>
                    <a:prstClr val="white"/>
                  </a:solidFill>
                </a:rPr>
                <a:t>Distribution of ArcelorMittal products.</a:t>
              </a:r>
              <a:endParaRPr lang="en-US" sz="1600" dirty="0">
                <a:solidFill>
                  <a:prstClr val="white">
                    <a:lumMod val="95000"/>
                  </a:prstClr>
                </a:solidFill>
                <a:latin typeface="VAGRounded-Light" pitchFamily="34" charset="0"/>
              </a:endParaRPr>
            </a:p>
            <a:p>
              <a:pPr algn="just"/>
              <a:endParaRPr lang="en-US" sz="1400" dirty="0">
                <a:solidFill>
                  <a:prstClr val="white"/>
                </a:solidFill>
                <a:latin typeface="VAGRounded"/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385264558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Object 446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275281473"/>
              </p:ext>
            </p:extLst>
          </p:nvPr>
        </p:nvGraphicFramePr>
        <p:xfrm>
          <a:off x="1629" y="1614"/>
          <a:ext cx="1587" cy="1587"/>
        </p:xfrm>
        <a:graphic>
          <a:graphicData uri="http://schemas.openxmlformats.org/presentationml/2006/ole">
            <p:oleObj spid="_x0000_s45074" name="think-cell Slide" r:id="rId5" imgW="270" imgH="270" progId="">
              <p:embed/>
            </p:oleObj>
          </a:graphicData>
        </a:graphic>
      </p:graphicFrame>
      <p:sp>
        <p:nvSpPr>
          <p:cNvPr id="5124" name="Rectangle 16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spc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altLang="en-US" sz="1000" dirty="0">
              <a:solidFill>
                <a:srgbClr val="FAFFFF"/>
              </a:solidFill>
              <a:cs typeface="Arial"/>
              <a:sym typeface="Arial"/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514101" y="404664"/>
            <a:ext cx="8234363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+mj-lt"/>
                <a:ea typeface="MS PGothic" pitchFamily="34" charset="-128"/>
                <a:cs typeface="MS PGothic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altLang="es-CR" sz="3200" dirty="0" smtClean="0">
                <a:solidFill>
                  <a:srgbClr val="FF3700"/>
                </a:solidFill>
                <a:ea typeface="MS PGothic"/>
                <a:cs typeface="+mn-cs"/>
              </a:rPr>
              <a:t>Our Rolling Mill</a:t>
            </a:r>
          </a:p>
        </p:txBody>
      </p:sp>
      <p:pic>
        <p:nvPicPr>
          <p:cNvPr id="45059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8451" y="2132856"/>
            <a:ext cx="9136955" cy="35283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30235017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Object 446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473634605"/>
              </p:ext>
            </p:extLst>
          </p:nvPr>
        </p:nvGraphicFramePr>
        <p:xfrm>
          <a:off x="1629" y="1614"/>
          <a:ext cx="1587" cy="1587"/>
        </p:xfrm>
        <a:graphic>
          <a:graphicData uri="http://schemas.openxmlformats.org/presentationml/2006/ole">
            <p:oleObj spid="_x0000_s46097" name="think-cell Slide" r:id="rId5" imgW="270" imgH="270" progId="">
              <p:embed/>
            </p:oleObj>
          </a:graphicData>
        </a:graphic>
      </p:graphicFrame>
      <p:sp>
        <p:nvSpPr>
          <p:cNvPr id="5124" name="Rectangle 16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spc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altLang="en-US" sz="1000" dirty="0">
              <a:solidFill>
                <a:srgbClr val="FAFFFF"/>
              </a:solidFill>
              <a:cs typeface="Arial"/>
              <a:sym typeface="Arial"/>
            </a:endParaRPr>
          </a:p>
        </p:txBody>
      </p:sp>
      <p:pic>
        <p:nvPicPr>
          <p:cNvPr id="46082" name="Picture 2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4300" t="5566" r="6020"/>
          <a:stretch/>
        </p:blipFill>
        <p:spPr bwMode="auto">
          <a:xfrm>
            <a:off x="3667838" y="1124744"/>
            <a:ext cx="5464410" cy="51450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370085" y="404664"/>
            <a:ext cx="8234363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+mj-lt"/>
                <a:ea typeface="MS PGothic" pitchFamily="34" charset="-128"/>
                <a:cs typeface="MS PGothic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altLang="es-CR" sz="3200" dirty="0" smtClean="0">
                <a:solidFill>
                  <a:srgbClr val="FF3700"/>
                </a:solidFill>
                <a:ea typeface="MS PGothic"/>
                <a:cs typeface="+mn-cs"/>
              </a:rPr>
              <a:t>Our </a:t>
            </a:r>
            <a:r>
              <a:rPr lang="en-US" altLang="es-CR" sz="3200" dirty="0" smtClean="0">
                <a:solidFill>
                  <a:srgbClr val="FF3700"/>
                </a:solidFill>
                <a:ea typeface="MS PGothic"/>
                <a:cs typeface="+mn-cs"/>
              </a:rPr>
              <a:t>Products</a:t>
            </a:r>
            <a:endParaRPr lang="en-US" altLang="es-CR" sz="3200" dirty="0">
              <a:solidFill>
                <a:srgbClr val="FF3700"/>
              </a:solidFill>
              <a:ea typeface="MS PGothic"/>
              <a:cs typeface="+mn-cs"/>
            </a:endParaRPr>
          </a:p>
        </p:txBody>
      </p:sp>
      <p:sp>
        <p:nvSpPr>
          <p:cNvPr id="8" name="7 CuadroTexto"/>
          <p:cNvSpPr txBox="1"/>
          <p:nvPr/>
        </p:nvSpPr>
        <p:spPr>
          <a:xfrm>
            <a:off x="370084" y="1183327"/>
            <a:ext cx="417646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smtClean="0">
                <a:solidFill>
                  <a:srgbClr val="696969"/>
                </a:solidFill>
              </a:rPr>
              <a:t>Billet applications</a:t>
            </a:r>
            <a:endParaRPr lang="en-US" sz="2800" dirty="0">
              <a:solidFill>
                <a:srgbClr val="696969"/>
              </a:solidFill>
            </a:endParaRPr>
          </a:p>
        </p:txBody>
      </p:sp>
      <p:sp>
        <p:nvSpPr>
          <p:cNvPr id="9" name="8 CuadroTexto"/>
          <p:cNvSpPr txBox="1"/>
          <p:nvPr/>
        </p:nvSpPr>
        <p:spPr>
          <a:xfrm>
            <a:off x="323528" y="2091040"/>
            <a:ext cx="3456383" cy="357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dirty="0" smtClean="0">
                <a:solidFill>
                  <a:srgbClr val="696969"/>
                </a:solidFill>
              </a:rPr>
              <a:t>The Company introduced an Integrated Management System for Quality, Environment and Safety that allow us to be certified on:</a:t>
            </a:r>
          </a:p>
          <a:p>
            <a:endParaRPr lang="en-US" sz="1600" dirty="0" smtClean="0">
              <a:solidFill>
                <a:srgbClr val="696969"/>
              </a:solidFill>
            </a:endParaRPr>
          </a:p>
          <a:p>
            <a:pPr marL="285750" indent="-285750" algn="just">
              <a:buFont typeface="Calibri" panose="020F0502020204030204" pitchFamily="34" charset="0"/>
              <a:buChar char="–"/>
            </a:pPr>
            <a:r>
              <a:rPr lang="en-US" sz="1600" b="1" dirty="0" smtClean="0">
                <a:solidFill>
                  <a:srgbClr val="696969"/>
                </a:solidFill>
              </a:rPr>
              <a:t>ISO 14001: </a:t>
            </a:r>
            <a:r>
              <a:rPr lang="en-US" sz="1600" dirty="0" smtClean="0">
                <a:solidFill>
                  <a:srgbClr val="696969"/>
                </a:solidFill>
              </a:rPr>
              <a:t>Environmental Management System. </a:t>
            </a:r>
          </a:p>
          <a:p>
            <a:pPr marL="285750" indent="-285750" algn="just">
              <a:buFont typeface="Calibri" panose="020F0502020204030204" pitchFamily="34" charset="0"/>
              <a:buChar char="–"/>
            </a:pPr>
            <a:r>
              <a:rPr lang="en-US" sz="1600" b="1" dirty="0" smtClean="0">
                <a:solidFill>
                  <a:srgbClr val="696969"/>
                </a:solidFill>
              </a:rPr>
              <a:t>OHSAS 18001: </a:t>
            </a:r>
            <a:r>
              <a:rPr lang="en-US" sz="1600" dirty="0" smtClean="0">
                <a:solidFill>
                  <a:srgbClr val="696969"/>
                </a:solidFill>
              </a:rPr>
              <a:t>Health and Safety Management System</a:t>
            </a:r>
          </a:p>
          <a:p>
            <a:pPr marL="285750" indent="-285750" algn="just">
              <a:buFont typeface="Calibri" panose="020F0502020204030204" pitchFamily="34" charset="0"/>
              <a:buChar char="–"/>
            </a:pPr>
            <a:r>
              <a:rPr lang="en-US" sz="1600" dirty="0" smtClean="0">
                <a:solidFill>
                  <a:srgbClr val="696969"/>
                </a:solidFill>
              </a:rPr>
              <a:t>Our </a:t>
            </a:r>
            <a:r>
              <a:rPr lang="en-US" sz="1600" dirty="0" err="1" smtClean="0">
                <a:solidFill>
                  <a:srgbClr val="696969"/>
                </a:solidFill>
              </a:rPr>
              <a:t>rebars</a:t>
            </a:r>
            <a:r>
              <a:rPr lang="en-US" sz="1600" dirty="0" smtClean="0">
                <a:solidFill>
                  <a:srgbClr val="696969"/>
                </a:solidFill>
              </a:rPr>
              <a:t> are certified by INTECO (INTE 06-09-01, INTE 06-09-02, ASTM A615 and ASTM A706)</a:t>
            </a:r>
          </a:p>
          <a:p>
            <a:endParaRPr lang="es-ES" dirty="0">
              <a:solidFill>
                <a:srgbClr val="696969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25238733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Object 446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4204755883"/>
              </p:ext>
            </p:extLst>
          </p:nvPr>
        </p:nvGraphicFramePr>
        <p:xfrm>
          <a:off x="1629" y="1614"/>
          <a:ext cx="1587" cy="1587"/>
        </p:xfrm>
        <a:graphic>
          <a:graphicData uri="http://schemas.openxmlformats.org/presentationml/2006/ole">
            <p:oleObj spid="_x0000_s26642" name="think-cell Slide" r:id="rId5" imgW="270" imgH="270" progId="">
              <p:embed/>
            </p:oleObj>
          </a:graphicData>
        </a:graphic>
      </p:graphicFrame>
      <p:sp>
        <p:nvSpPr>
          <p:cNvPr id="5124" name="Rectangle 16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spc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altLang="en-US" sz="1000" dirty="0">
              <a:solidFill>
                <a:srgbClr val="FAFFFF"/>
              </a:solidFill>
              <a:cs typeface="Arial"/>
              <a:sym typeface="Arial"/>
            </a:endParaRPr>
          </a:p>
        </p:txBody>
      </p:sp>
      <p:grpSp>
        <p:nvGrpSpPr>
          <p:cNvPr id="6" name="5 Grupo"/>
          <p:cNvGrpSpPr/>
          <p:nvPr/>
        </p:nvGrpSpPr>
        <p:grpSpPr>
          <a:xfrm>
            <a:off x="10346" y="1224136"/>
            <a:ext cx="9133654" cy="4869160"/>
            <a:chOff x="10346" y="1562175"/>
            <a:chExt cx="9133654" cy="4869160"/>
          </a:xfrm>
        </p:grpSpPr>
        <p:pic>
          <p:nvPicPr>
            <p:cNvPr id="8" name="Picture 3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 l="7377" t="19359" r="14040" b="6128"/>
            <a:stretch/>
          </p:blipFill>
          <p:spPr bwMode="auto">
            <a:xfrm>
              <a:off x="10346" y="1562175"/>
              <a:ext cx="9133654" cy="48691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6" name="15 Imagen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47641" y="3708723"/>
              <a:ext cx="576064" cy="576064"/>
            </a:xfrm>
            <a:prstGeom prst="rect">
              <a:avLst/>
            </a:prstGeom>
          </p:spPr>
        </p:pic>
        <p:pic>
          <p:nvPicPr>
            <p:cNvPr id="17" name="16 Imagen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75856" y="4847159"/>
              <a:ext cx="576064" cy="576064"/>
            </a:xfrm>
            <a:prstGeom prst="rect">
              <a:avLst/>
            </a:prstGeom>
          </p:spPr>
        </p:pic>
        <p:pic>
          <p:nvPicPr>
            <p:cNvPr id="18" name="17 Imagen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16416" y="1656184"/>
              <a:ext cx="576064" cy="576064"/>
            </a:xfrm>
            <a:prstGeom prst="rect">
              <a:avLst/>
            </a:prstGeom>
          </p:spPr>
        </p:pic>
      </p:grpSp>
      <p:sp>
        <p:nvSpPr>
          <p:cNvPr id="10" name="Rectangle 47"/>
          <p:cNvSpPr/>
          <p:nvPr/>
        </p:nvSpPr>
        <p:spPr>
          <a:xfrm>
            <a:off x="333971" y="5949280"/>
            <a:ext cx="8486404" cy="646331"/>
          </a:xfrm>
          <a:prstGeom prst="rect">
            <a:avLst/>
          </a:prstGeom>
          <a:solidFill>
            <a:schemeClr val="tx2"/>
          </a:solidFill>
          <a:effectLst/>
        </p:spPr>
        <p:txBody>
          <a:bodyPr wrap="square">
            <a:spAutoFit/>
          </a:bodyPr>
          <a:lstStyle/>
          <a:p>
            <a:pPr marL="177800" lvl="1" algn="ctr" defTabSz="871538" eaLnBrk="0" hangingPunct="0">
              <a:buClr>
                <a:srgbClr val="FF3700"/>
              </a:buClr>
              <a:defRPr/>
            </a:pPr>
            <a:r>
              <a:rPr lang="en-US" b="1" dirty="0">
                <a:solidFill>
                  <a:schemeClr val="bg1"/>
                </a:solidFill>
              </a:rPr>
              <a:t>An industrial and commercial network allows us to satisfy the needs of our clients in Central America and Caribbean </a:t>
            </a:r>
            <a:r>
              <a:rPr lang="en-US" b="1" dirty="0" smtClean="0">
                <a:solidFill>
                  <a:schemeClr val="bg1"/>
                </a:solidFill>
              </a:rPr>
              <a:t>Region.</a:t>
            </a:r>
            <a:endParaRPr lang="en-US" altLang="en-US" b="1" dirty="0">
              <a:solidFill>
                <a:srgbClr val="FFFFFF"/>
              </a:solidFill>
              <a:latin typeface="Arial" pitchFamily="34" charset="0"/>
              <a:ea typeface="Gulim" pitchFamily="34" charset="-127"/>
              <a:cs typeface="Arial" pitchFamily="34" charset="0"/>
            </a:endParaRPr>
          </a:p>
        </p:txBody>
      </p:sp>
      <p:sp>
        <p:nvSpPr>
          <p:cNvPr id="11" name="Rectangle 2"/>
          <p:cNvSpPr txBox="1">
            <a:spLocks noChangeArrowheads="1"/>
          </p:cNvSpPr>
          <p:nvPr/>
        </p:nvSpPr>
        <p:spPr bwMode="auto">
          <a:xfrm>
            <a:off x="370085" y="404664"/>
            <a:ext cx="8234363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+mj-lt"/>
                <a:ea typeface="MS PGothic" pitchFamily="34" charset="-128"/>
                <a:cs typeface="MS PGothic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altLang="es-CR" sz="3200" dirty="0" smtClean="0">
                <a:solidFill>
                  <a:srgbClr val="FF3700"/>
                </a:solidFill>
                <a:ea typeface="MS PGothic"/>
                <a:cs typeface="+mn-cs"/>
              </a:rPr>
              <a:t>Our </a:t>
            </a:r>
            <a:r>
              <a:rPr lang="en-US" altLang="es-CR" sz="3200" dirty="0" smtClean="0">
                <a:solidFill>
                  <a:srgbClr val="FF3700"/>
                </a:solidFill>
                <a:ea typeface="MS PGothic"/>
                <a:cs typeface="+mn-cs"/>
              </a:rPr>
              <a:t>Export Activities</a:t>
            </a:r>
            <a:endParaRPr lang="en-US" altLang="es-CR" sz="3200" dirty="0">
              <a:solidFill>
                <a:srgbClr val="FF3700"/>
              </a:solidFill>
              <a:ea typeface="MS PGothic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56071740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Object 446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831019479"/>
              </p:ext>
            </p:extLst>
          </p:nvPr>
        </p:nvGraphicFramePr>
        <p:xfrm>
          <a:off x="1629" y="1614"/>
          <a:ext cx="1587" cy="1587"/>
        </p:xfrm>
        <a:graphic>
          <a:graphicData uri="http://schemas.openxmlformats.org/presentationml/2006/ole">
            <p:oleObj spid="_x0000_s57358" name="think-cell Slide" r:id="rId5" imgW="270" imgH="270" progId="">
              <p:embed/>
            </p:oleObj>
          </a:graphicData>
        </a:graphic>
      </p:graphicFrame>
      <p:sp>
        <p:nvSpPr>
          <p:cNvPr id="5124" name="Rectangle 16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spc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altLang="en-US" sz="1000" dirty="0">
              <a:solidFill>
                <a:srgbClr val="FAFFFF"/>
              </a:solidFill>
              <a:cs typeface="Arial"/>
              <a:sym typeface="Arial"/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467544" y="260573"/>
            <a:ext cx="8280920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+mj-lt"/>
                <a:ea typeface="MS PGothic" pitchFamily="34" charset="-128"/>
                <a:cs typeface="MS PGothic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altLang="es-CR" kern="0" dirty="0" smtClean="0">
                <a:solidFill>
                  <a:srgbClr val="FF3700"/>
                </a:solidFill>
              </a:rPr>
              <a:t>Our Distribution Network – Costa Rica</a:t>
            </a:r>
            <a:endParaRPr lang="en-US" altLang="es-CR" kern="0" dirty="0">
              <a:solidFill>
                <a:srgbClr val="FF3700"/>
              </a:solidFill>
            </a:endParaRPr>
          </a:p>
        </p:txBody>
      </p:sp>
      <p:pic>
        <p:nvPicPr>
          <p:cNvPr id="6" name="Picture 34" descr="Resultado de imagen para mapa mudo con division de provincia costa rica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6590" y="914263"/>
            <a:ext cx="7442745" cy="61118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7 Elipse"/>
          <p:cNvSpPr/>
          <p:nvPr/>
        </p:nvSpPr>
        <p:spPr>
          <a:xfrm>
            <a:off x="7235825" y="4437063"/>
            <a:ext cx="144463" cy="144462"/>
          </a:xfrm>
          <a:prstGeom prst="ellipse">
            <a:avLst/>
          </a:prstGeom>
          <a:solidFill>
            <a:srgbClr val="F96B2B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MX" dirty="0">
              <a:solidFill>
                <a:srgbClr val="FFFFFF"/>
              </a:solidFill>
            </a:endParaRPr>
          </a:p>
        </p:txBody>
      </p:sp>
      <p:sp>
        <p:nvSpPr>
          <p:cNvPr id="9" name="8 Conector"/>
          <p:cNvSpPr/>
          <p:nvPr/>
        </p:nvSpPr>
        <p:spPr>
          <a:xfrm flipH="1">
            <a:off x="5891213" y="2611438"/>
            <a:ext cx="144462" cy="142875"/>
          </a:xfrm>
          <a:prstGeom prst="flowChartConnector">
            <a:avLst/>
          </a:prstGeom>
          <a:solidFill>
            <a:srgbClr val="FF6600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MX" dirty="0">
              <a:solidFill>
                <a:srgbClr val="FFFFFF"/>
              </a:solidFill>
            </a:endParaRPr>
          </a:p>
        </p:txBody>
      </p:sp>
      <p:sp>
        <p:nvSpPr>
          <p:cNvPr id="10" name="9 Elipse"/>
          <p:cNvSpPr/>
          <p:nvPr/>
        </p:nvSpPr>
        <p:spPr>
          <a:xfrm>
            <a:off x="3851275" y="3213100"/>
            <a:ext cx="144463" cy="144463"/>
          </a:xfrm>
          <a:prstGeom prst="ellipse">
            <a:avLst/>
          </a:prstGeom>
          <a:solidFill>
            <a:srgbClr val="F96B2B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MX" dirty="0">
              <a:solidFill>
                <a:srgbClr val="FFFFFF"/>
              </a:solidFill>
            </a:endParaRPr>
          </a:p>
        </p:txBody>
      </p:sp>
      <p:sp>
        <p:nvSpPr>
          <p:cNvPr id="12" name="11 Conector"/>
          <p:cNvSpPr/>
          <p:nvPr/>
        </p:nvSpPr>
        <p:spPr>
          <a:xfrm flipH="1">
            <a:off x="5940425" y="2708275"/>
            <a:ext cx="144463" cy="144463"/>
          </a:xfrm>
          <a:prstGeom prst="flowChartConnector">
            <a:avLst/>
          </a:prstGeom>
          <a:solidFill>
            <a:srgbClr val="FF6600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MX" dirty="0">
              <a:solidFill>
                <a:srgbClr val="FFFFFF"/>
              </a:solidFill>
            </a:endParaRPr>
          </a:p>
        </p:txBody>
      </p:sp>
      <p:sp>
        <p:nvSpPr>
          <p:cNvPr id="13" name="12 Conector"/>
          <p:cNvSpPr/>
          <p:nvPr/>
        </p:nvSpPr>
        <p:spPr>
          <a:xfrm flipH="1">
            <a:off x="4572000" y="5637213"/>
            <a:ext cx="144463" cy="144462"/>
          </a:xfrm>
          <a:prstGeom prst="flowChartConnector">
            <a:avLst/>
          </a:prstGeom>
          <a:solidFill>
            <a:srgbClr val="FF6600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MX" dirty="0">
              <a:solidFill>
                <a:srgbClr val="FFFFFF"/>
              </a:solidFill>
            </a:endParaRPr>
          </a:p>
        </p:txBody>
      </p:sp>
      <p:sp>
        <p:nvSpPr>
          <p:cNvPr id="14" name="13 Elipse"/>
          <p:cNvSpPr/>
          <p:nvPr/>
        </p:nvSpPr>
        <p:spPr>
          <a:xfrm>
            <a:off x="4067175" y="3429000"/>
            <a:ext cx="144463" cy="144463"/>
          </a:xfrm>
          <a:prstGeom prst="ellipse">
            <a:avLst/>
          </a:prstGeom>
          <a:solidFill>
            <a:srgbClr val="F96B2B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MX" dirty="0">
              <a:solidFill>
                <a:srgbClr val="FFFFFF"/>
              </a:solidFill>
            </a:endParaRPr>
          </a:p>
        </p:txBody>
      </p:sp>
      <p:sp>
        <p:nvSpPr>
          <p:cNvPr id="15" name="14 Elipse"/>
          <p:cNvSpPr/>
          <p:nvPr/>
        </p:nvSpPr>
        <p:spPr>
          <a:xfrm>
            <a:off x="3930650" y="3324225"/>
            <a:ext cx="144463" cy="144463"/>
          </a:xfrm>
          <a:prstGeom prst="ellipse">
            <a:avLst/>
          </a:prstGeom>
          <a:solidFill>
            <a:srgbClr val="F96B2B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MX" dirty="0">
              <a:solidFill>
                <a:srgbClr val="FFFFFF"/>
              </a:solidFill>
            </a:endParaRPr>
          </a:p>
        </p:txBody>
      </p:sp>
      <p:sp>
        <p:nvSpPr>
          <p:cNvPr id="16" name="15 Elipse"/>
          <p:cNvSpPr/>
          <p:nvPr/>
        </p:nvSpPr>
        <p:spPr>
          <a:xfrm>
            <a:off x="3706813" y="2492375"/>
            <a:ext cx="144462" cy="144463"/>
          </a:xfrm>
          <a:prstGeom prst="ellipse">
            <a:avLst/>
          </a:prstGeom>
          <a:solidFill>
            <a:srgbClr val="F96B2B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MX" dirty="0">
              <a:solidFill>
                <a:srgbClr val="FFFFFF"/>
              </a:solidFill>
            </a:endParaRPr>
          </a:p>
        </p:txBody>
      </p:sp>
      <p:sp>
        <p:nvSpPr>
          <p:cNvPr id="17" name="16 Elipse"/>
          <p:cNvSpPr/>
          <p:nvPr/>
        </p:nvSpPr>
        <p:spPr>
          <a:xfrm>
            <a:off x="3635375" y="2636838"/>
            <a:ext cx="144463" cy="144462"/>
          </a:xfrm>
          <a:prstGeom prst="ellipse">
            <a:avLst/>
          </a:prstGeom>
          <a:solidFill>
            <a:srgbClr val="F96B2B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MX" dirty="0">
              <a:solidFill>
                <a:srgbClr val="FFFFFF"/>
              </a:solidFill>
            </a:endParaRPr>
          </a:p>
        </p:txBody>
      </p:sp>
      <p:sp>
        <p:nvSpPr>
          <p:cNvPr id="18" name="17 Elipse"/>
          <p:cNvSpPr/>
          <p:nvPr/>
        </p:nvSpPr>
        <p:spPr>
          <a:xfrm>
            <a:off x="3635375" y="2744788"/>
            <a:ext cx="144463" cy="144462"/>
          </a:xfrm>
          <a:prstGeom prst="ellipse">
            <a:avLst/>
          </a:prstGeom>
          <a:solidFill>
            <a:srgbClr val="F96B2B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MX" dirty="0">
              <a:solidFill>
                <a:srgbClr val="FFFFFF"/>
              </a:solidFill>
            </a:endParaRPr>
          </a:p>
        </p:txBody>
      </p:sp>
      <p:sp>
        <p:nvSpPr>
          <p:cNvPr id="19" name="18 Elipse"/>
          <p:cNvSpPr/>
          <p:nvPr/>
        </p:nvSpPr>
        <p:spPr>
          <a:xfrm>
            <a:off x="3706813" y="2997200"/>
            <a:ext cx="144462" cy="144463"/>
          </a:xfrm>
          <a:prstGeom prst="ellipse">
            <a:avLst/>
          </a:prstGeom>
          <a:solidFill>
            <a:srgbClr val="F96B2B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MX" dirty="0">
              <a:solidFill>
                <a:srgbClr val="FFFFFF"/>
              </a:solidFill>
            </a:endParaRPr>
          </a:p>
        </p:txBody>
      </p:sp>
      <p:sp>
        <p:nvSpPr>
          <p:cNvPr id="20" name="19 Elipse"/>
          <p:cNvSpPr/>
          <p:nvPr/>
        </p:nvSpPr>
        <p:spPr>
          <a:xfrm>
            <a:off x="4787900" y="2492375"/>
            <a:ext cx="144463" cy="144463"/>
          </a:xfrm>
          <a:prstGeom prst="ellipse">
            <a:avLst/>
          </a:prstGeom>
          <a:solidFill>
            <a:srgbClr val="F96B2B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MX" dirty="0">
              <a:solidFill>
                <a:srgbClr val="FFFFFF"/>
              </a:solidFill>
            </a:endParaRPr>
          </a:p>
        </p:txBody>
      </p:sp>
      <p:sp>
        <p:nvSpPr>
          <p:cNvPr id="21" name="20 Elipse"/>
          <p:cNvSpPr/>
          <p:nvPr/>
        </p:nvSpPr>
        <p:spPr>
          <a:xfrm>
            <a:off x="7308850" y="4221163"/>
            <a:ext cx="144463" cy="144462"/>
          </a:xfrm>
          <a:prstGeom prst="ellipse">
            <a:avLst/>
          </a:prstGeom>
          <a:solidFill>
            <a:srgbClr val="F96B2B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MX" dirty="0">
              <a:solidFill>
                <a:srgbClr val="FFFFFF"/>
              </a:solidFill>
            </a:endParaRPr>
          </a:p>
        </p:txBody>
      </p:sp>
      <p:sp>
        <p:nvSpPr>
          <p:cNvPr id="22" name="21 Elipse"/>
          <p:cNvSpPr/>
          <p:nvPr/>
        </p:nvSpPr>
        <p:spPr>
          <a:xfrm>
            <a:off x="7164388" y="4365625"/>
            <a:ext cx="144462" cy="142875"/>
          </a:xfrm>
          <a:prstGeom prst="ellipse">
            <a:avLst/>
          </a:prstGeom>
          <a:solidFill>
            <a:srgbClr val="F96B2B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MX" dirty="0">
              <a:solidFill>
                <a:srgbClr val="FFFFFF"/>
              </a:solidFill>
            </a:endParaRPr>
          </a:p>
        </p:txBody>
      </p:sp>
      <p:sp>
        <p:nvSpPr>
          <p:cNvPr id="23" name="22 Conector"/>
          <p:cNvSpPr/>
          <p:nvPr/>
        </p:nvSpPr>
        <p:spPr>
          <a:xfrm flipH="1">
            <a:off x="5148263" y="5421313"/>
            <a:ext cx="144462" cy="144462"/>
          </a:xfrm>
          <a:prstGeom prst="flowChartConnector">
            <a:avLst/>
          </a:prstGeom>
          <a:solidFill>
            <a:srgbClr val="FF6600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MX" dirty="0">
              <a:solidFill>
                <a:srgbClr val="FFFFFF"/>
              </a:solidFill>
            </a:endParaRPr>
          </a:p>
        </p:txBody>
      </p:sp>
      <p:sp>
        <p:nvSpPr>
          <p:cNvPr id="24" name="23 Conector"/>
          <p:cNvSpPr/>
          <p:nvPr/>
        </p:nvSpPr>
        <p:spPr>
          <a:xfrm flipH="1">
            <a:off x="4860925" y="5276850"/>
            <a:ext cx="142875" cy="144463"/>
          </a:xfrm>
          <a:prstGeom prst="flowChartConnector">
            <a:avLst/>
          </a:prstGeom>
          <a:solidFill>
            <a:srgbClr val="FF6600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MX" dirty="0">
              <a:solidFill>
                <a:srgbClr val="FFFFFF"/>
              </a:solidFill>
            </a:endParaRPr>
          </a:p>
        </p:txBody>
      </p:sp>
      <p:sp>
        <p:nvSpPr>
          <p:cNvPr id="25" name="24 Conector"/>
          <p:cNvSpPr/>
          <p:nvPr/>
        </p:nvSpPr>
        <p:spPr>
          <a:xfrm flipH="1">
            <a:off x="6084888" y="3068638"/>
            <a:ext cx="142875" cy="144462"/>
          </a:xfrm>
          <a:prstGeom prst="flowChartConnector">
            <a:avLst/>
          </a:prstGeom>
          <a:solidFill>
            <a:srgbClr val="FF6600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MX" dirty="0">
              <a:solidFill>
                <a:srgbClr val="FFFFFF"/>
              </a:solidFill>
            </a:endParaRPr>
          </a:p>
        </p:txBody>
      </p:sp>
      <p:sp>
        <p:nvSpPr>
          <p:cNvPr id="26" name="25 Conector"/>
          <p:cNvSpPr/>
          <p:nvPr/>
        </p:nvSpPr>
        <p:spPr>
          <a:xfrm flipH="1">
            <a:off x="5364163" y="5637213"/>
            <a:ext cx="144462" cy="144462"/>
          </a:xfrm>
          <a:prstGeom prst="flowChartConnector">
            <a:avLst/>
          </a:prstGeom>
          <a:solidFill>
            <a:srgbClr val="FF6600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MX" dirty="0">
              <a:solidFill>
                <a:srgbClr val="FFFFFF"/>
              </a:solidFill>
            </a:endParaRPr>
          </a:p>
        </p:txBody>
      </p:sp>
      <p:sp>
        <p:nvSpPr>
          <p:cNvPr id="27" name="26 Conector"/>
          <p:cNvSpPr/>
          <p:nvPr/>
        </p:nvSpPr>
        <p:spPr>
          <a:xfrm flipH="1">
            <a:off x="5003800" y="5565775"/>
            <a:ext cx="144463" cy="142875"/>
          </a:xfrm>
          <a:prstGeom prst="flowChartConnector">
            <a:avLst/>
          </a:prstGeom>
          <a:solidFill>
            <a:srgbClr val="FF6600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MX" dirty="0">
              <a:solidFill>
                <a:srgbClr val="FFFFFF"/>
              </a:solidFill>
            </a:endParaRPr>
          </a:p>
        </p:txBody>
      </p:sp>
      <p:sp>
        <p:nvSpPr>
          <p:cNvPr id="28" name="27 Conector"/>
          <p:cNvSpPr/>
          <p:nvPr/>
        </p:nvSpPr>
        <p:spPr>
          <a:xfrm flipH="1">
            <a:off x="4356100" y="5276850"/>
            <a:ext cx="144463" cy="144463"/>
          </a:xfrm>
          <a:prstGeom prst="flowChartConnector">
            <a:avLst/>
          </a:prstGeom>
          <a:solidFill>
            <a:srgbClr val="FF6600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MX" dirty="0">
              <a:solidFill>
                <a:srgbClr val="FFFFFF"/>
              </a:solidFill>
            </a:endParaRPr>
          </a:p>
        </p:txBody>
      </p:sp>
      <p:sp>
        <p:nvSpPr>
          <p:cNvPr id="29" name="28 Conector"/>
          <p:cNvSpPr/>
          <p:nvPr/>
        </p:nvSpPr>
        <p:spPr>
          <a:xfrm flipH="1">
            <a:off x="4500563" y="5276850"/>
            <a:ext cx="144462" cy="144463"/>
          </a:xfrm>
          <a:prstGeom prst="flowChartConnector">
            <a:avLst/>
          </a:prstGeom>
          <a:solidFill>
            <a:srgbClr val="FF6600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MX" dirty="0">
              <a:solidFill>
                <a:srgbClr val="FFFFFF"/>
              </a:solidFill>
            </a:endParaRPr>
          </a:p>
        </p:txBody>
      </p:sp>
      <p:cxnSp>
        <p:nvCxnSpPr>
          <p:cNvPr id="30" name="29 Conector recto"/>
          <p:cNvCxnSpPr>
            <a:endCxn id="33" idx="7"/>
          </p:cNvCxnSpPr>
          <p:nvPr/>
        </p:nvCxnSpPr>
        <p:spPr>
          <a:xfrm flipV="1">
            <a:off x="4500563" y="3331283"/>
            <a:ext cx="2159286" cy="1466142"/>
          </a:xfrm>
          <a:prstGeom prst="line">
            <a:avLst/>
          </a:prstGeom>
          <a:ln w="3492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30 Conector recto"/>
          <p:cNvCxnSpPr>
            <a:endCxn id="33" idx="3"/>
          </p:cNvCxnSpPr>
          <p:nvPr/>
        </p:nvCxnSpPr>
        <p:spPr>
          <a:xfrm flipV="1">
            <a:off x="5873750" y="3433433"/>
            <a:ext cx="887126" cy="2348242"/>
          </a:xfrm>
          <a:prstGeom prst="line">
            <a:avLst/>
          </a:prstGeom>
          <a:ln w="3492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32" name="Picture 36" descr="Resultado de imagen para lupa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7666" t="12181" r="33301"/>
          <a:stretch>
            <a:fillRect/>
          </a:stretch>
        </p:blipFill>
        <p:spPr bwMode="auto">
          <a:xfrm rot="20075110">
            <a:off x="4244406" y="4113421"/>
            <a:ext cx="2636838" cy="4437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32 Conector"/>
          <p:cNvSpPr/>
          <p:nvPr/>
        </p:nvSpPr>
        <p:spPr>
          <a:xfrm flipH="1">
            <a:off x="6638925" y="3310127"/>
            <a:ext cx="142875" cy="144462"/>
          </a:xfrm>
          <a:prstGeom prst="flowChartConnector">
            <a:avLst/>
          </a:prstGeom>
          <a:solidFill>
            <a:schemeClr val="bg1">
              <a:lumMod val="5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MX" dirty="0">
              <a:solidFill>
                <a:srgbClr val="FFFFFF"/>
              </a:solidFill>
            </a:endParaRPr>
          </a:p>
        </p:txBody>
      </p:sp>
      <p:sp>
        <p:nvSpPr>
          <p:cNvPr id="34" name="33 Elipse"/>
          <p:cNvSpPr/>
          <p:nvPr/>
        </p:nvSpPr>
        <p:spPr>
          <a:xfrm>
            <a:off x="5868144" y="3212529"/>
            <a:ext cx="144463" cy="144463"/>
          </a:xfrm>
          <a:prstGeom prst="ellipse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MX" dirty="0">
              <a:solidFill>
                <a:srgbClr val="FFFFFF"/>
              </a:solidFill>
            </a:endParaRPr>
          </a:p>
        </p:txBody>
      </p:sp>
      <p:sp>
        <p:nvSpPr>
          <p:cNvPr id="35" name="34 Elipse"/>
          <p:cNvSpPr/>
          <p:nvPr/>
        </p:nvSpPr>
        <p:spPr>
          <a:xfrm>
            <a:off x="6875809" y="3429000"/>
            <a:ext cx="144463" cy="144463"/>
          </a:xfrm>
          <a:prstGeom prst="ellipse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MX" dirty="0">
              <a:solidFill>
                <a:srgbClr val="FFFFFF"/>
              </a:solidFill>
            </a:endParaRPr>
          </a:p>
        </p:txBody>
      </p:sp>
      <p:sp>
        <p:nvSpPr>
          <p:cNvPr id="36" name="35 Elipse"/>
          <p:cNvSpPr/>
          <p:nvPr/>
        </p:nvSpPr>
        <p:spPr>
          <a:xfrm>
            <a:off x="7380312" y="2780928"/>
            <a:ext cx="144463" cy="144463"/>
          </a:xfrm>
          <a:prstGeom prst="ellipse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MX" dirty="0">
              <a:solidFill>
                <a:srgbClr val="FFFFFF"/>
              </a:solidFill>
            </a:endParaRPr>
          </a:p>
        </p:txBody>
      </p:sp>
      <p:sp>
        <p:nvSpPr>
          <p:cNvPr id="37" name="36 Elipse"/>
          <p:cNvSpPr/>
          <p:nvPr/>
        </p:nvSpPr>
        <p:spPr>
          <a:xfrm>
            <a:off x="4283968" y="2132409"/>
            <a:ext cx="144463" cy="144463"/>
          </a:xfrm>
          <a:prstGeom prst="ellipse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MX" dirty="0">
              <a:solidFill>
                <a:srgbClr val="FFFFFF"/>
              </a:solidFill>
            </a:endParaRPr>
          </a:p>
        </p:txBody>
      </p:sp>
      <p:pic>
        <p:nvPicPr>
          <p:cNvPr id="38" name="Picture 6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450" y="3193976"/>
            <a:ext cx="3536156" cy="3228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9" name="38 Elipse"/>
          <p:cNvSpPr>
            <a:spLocks noChangeAspect="1"/>
          </p:cNvSpPr>
          <p:nvPr/>
        </p:nvSpPr>
        <p:spPr>
          <a:xfrm>
            <a:off x="278024" y="6485368"/>
            <a:ext cx="180000" cy="180000"/>
          </a:xfrm>
          <a:prstGeom prst="ellipse">
            <a:avLst/>
          </a:prstGeom>
          <a:solidFill>
            <a:srgbClr val="FFFF00"/>
          </a:solidFill>
          <a:ln w="9525">
            <a:solidFill>
              <a:srgbClr val="FFC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MX" dirty="0">
              <a:solidFill>
                <a:srgbClr val="FFFFFF"/>
              </a:solidFill>
            </a:endParaRPr>
          </a:p>
        </p:txBody>
      </p:sp>
      <p:sp>
        <p:nvSpPr>
          <p:cNvPr id="40" name="39 CuadroTexto"/>
          <p:cNvSpPr txBox="1"/>
          <p:nvPr/>
        </p:nvSpPr>
        <p:spPr>
          <a:xfrm>
            <a:off x="539850" y="6388832"/>
            <a:ext cx="30240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CR" sz="1600" dirty="0">
                <a:solidFill>
                  <a:srgbClr val="696969">
                    <a:lumMod val="60000"/>
                    <a:lumOff val="40000"/>
                  </a:srgbClr>
                </a:solidFill>
              </a:rPr>
              <a:t>New </a:t>
            </a:r>
            <a:r>
              <a:rPr lang="es-CR" sz="1600" dirty="0" err="1">
                <a:solidFill>
                  <a:srgbClr val="696969">
                    <a:lumMod val="60000"/>
                    <a:lumOff val="40000"/>
                  </a:srgbClr>
                </a:solidFill>
              </a:rPr>
              <a:t>Members</a:t>
            </a:r>
            <a:r>
              <a:rPr lang="es-CR" sz="1600" dirty="0">
                <a:solidFill>
                  <a:srgbClr val="696969">
                    <a:lumMod val="60000"/>
                    <a:lumOff val="40000"/>
                  </a:srgbClr>
                </a:solidFill>
              </a:rPr>
              <a:t> </a:t>
            </a:r>
            <a:r>
              <a:rPr lang="es-CR" sz="1600" dirty="0" err="1">
                <a:solidFill>
                  <a:srgbClr val="696969">
                    <a:lumMod val="60000"/>
                    <a:lumOff val="40000"/>
                  </a:srgbClr>
                </a:solidFill>
              </a:rPr>
              <a:t>for</a:t>
            </a:r>
            <a:r>
              <a:rPr lang="es-CR" sz="1600" dirty="0">
                <a:solidFill>
                  <a:srgbClr val="696969">
                    <a:lumMod val="60000"/>
                    <a:lumOff val="40000"/>
                  </a:srgbClr>
                </a:solidFill>
              </a:rPr>
              <a:t> 2017</a:t>
            </a:r>
          </a:p>
        </p:txBody>
      </p:sp>
    </p:spTree>
    <p:extLst>
      <p:ext uri="{BB962C8B-B14F-4D97-AF65-F5344CB8AC3E}">
        <p14:creationId xmlns="" xmlns:p14="http://schemas.microsoft.com/office/powerpoint/2010/main" val="158265245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3188" name="Picture 4" descr="C:\Users\CR0086147\Desktop\220px-Distritos_de_Managua.svg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=""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5085184"/>
            <a:ext cx="3840150" cy="2304089"/>
          </a:xfrm>
          <a:prstGeom prst="ellipse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55" name="AutoShape 2" descr="data:image/png;base64,iVBORw0KGgoAAAANSUhEUgAAAdkAAAFHCAYAAADtKzYxAAAgAElEQVR4Xuy9B3Qk13kmem+lrq7uRgfkDEzOM+hukJIVHhUtWcGSbJEiFSjLluWVj3e9z7vPsla29Lz2e3LctWzvWpZli6JIiqQtWVa2JSfZkoboBjicnIBBzo3QofK9e24B1VNodKMzgKFuncPDQfcN//1udX31//cPENCLIkARoAhQBCgCFIG6IADrMiodlCJAEaAIUAQoAhQBQEmW3gQUAYoARYAiQBGoEwKUZOsELB2WIkARoAhQBCgClGTpPUARoAhQBCgCFIE6IUBJtk7A0mEpAhQBigBFgCJASZbeAxQBigBFgCJAEagTApRk6wQsHZYiQBGgCFAEKAKUZOk9QBGgCFAEKAIUgTohQEm2TsDSYSkCFAGKAEWAIkBJlt4DFAGKAEWAIkARqBMClGTrBCwdliJAEaAIUAQoApRk6T1AEaAIUAQoAhSBOiFASbZOwNJhKQIUAYoARYAiQEn2Hr4HYrHYb2KMBZZlR8h/Z8+evXEPL4eKThGgCFAEXnQIUJK9R7d0eHi4AyE0JflCi4auGLqm+AEAKsBYi0Qi7ffosqjYFAGKAEXgRYUAJdl7dDuHh4efdvuC9/ka25ftJRi66lpbnO40De2H4XPnfuIeXRoVmyJAEaAIvGgQoCR7D27l0NDQazmOf6a599hoPvETs2Mtmpz+djQa/eA9uDwqMkWAIkAReNEgQEn2HtzK4ZGRF3yhNo/bF1zJKz7GcGlmtAvp6l+Gw+FfuweXSEWmCFAEKAIvCgQoyd5j2xiPx/+FE6Wjje39UzuJbhiasDRx8wQAeN40zZ+4//77L9xjS6XiUgQoAhSBex4BSrL30BbGYrF2hmHGGho7pkRfYLWY6Fom6U2uLLQaugYAwCsYoU9Eo9HPF+tHv6cIUAQoAhSB2iBASbY2OO7KKPF4/C8lX+g1vqb2xXInlNcTITm54tJ11Qswfgwh9OeDg4OXyh2HtqcIUAQoAhSB0hGgJFs6VnvaMh6PvxoyzJdbeo7dAhDiSoXRFdmtpFa9cmo1CAB+AWP8LMuyX9E0LenxeJInT54kai+9KAIUAYoARaAGCFCSrQGIuzHE8PDIsDfYEpT8jdmQnWrnJdptZn3ZZxqGgAHmAcYCIXAIACFaBUP479g0fzsajZ6vdi7anyJAEaAI/CgiQEn2Htj1oaGhXxRc7o81dh2arre4GCEGY8Qgw+CUzLo/s77cgDH+JwjAb4XD4Vi956fjUwQoAhSBFxMClGT3+W6OjIw0Y4xvBVp7ZwS3J73r4mIMU6uLLZm1ZT8A+DsIod+KRqPDuy4HnZAiQBGgCNyDCFCS3eebFovHP+32+N/kb+ma21NRN8k2vbYUYCD8NgDgvw8MDNCwoD3dFDo5RYAisN8RoCS7j3doZGTkjaZpfiPY0XvdJfpS+0JUjCEJC5LXE0Sz/RZC6Dej0ejFfSFblUJMTk66FxYWfhcwzGpkYODXqxyOdqcIUAQoAoCS7D6+CZ5//vmAYRhWVieO55Wm7qOX9424hGxXF1oza8sBgLGCMf5+NBp9676Rr0xBhoeHP4Ax+KRL8pmmrrKGriYMw3jt/fffv2PSjzKnoc0pAhSBHzEEKMnu0w0nBHvu3LnV8+fPv4ll2a8CAGDbgVPx/Sbu3OilSFYmCGMMhH8QDoe/uN/kLCRPPB6PQAj/iGH5g77GtjWX5EsRx6/k8nxjJrXSDhD6jWg0+sl7ZT1UTooARWB/IUBJdh/tx/Dw8CJCqMkhkhKNRt2XLl3qVhRlYq9IVk2nmkxkiACbUGponLTlW5mfOK2m1wWSTopzudKSN7Qkp1Zdpq56EABPAIQe26/hP5cvXxYURfl9COHPeoItSx5/07YEH7qqiKmVuYCmZHSA8a9GIpFnyNrj8fiPQwg/YRjG2++77769PSvfR/cvFYUiQBHYjgAl2X10V8RiMWeSCcwwzEmWZSd0XU/uhSa7cOdqGCFzyz3CCQJq6joyQmCztdhc8ifkJKdWPEpqzQcwmDdN/TMcxz0xMDBQdqaqemxPLBZ7mGivLC9Iwba+2yzH6zvNo6TXG1KJ+YBp6qsAA4nhOBfDcqyuKd+JhsMP1kNGOiZFgCLw4kCAkuw+2UebYCHDmCRWlZCqUzSW5bTm3mO75mA0P3Y5gnGW87HbE1iS06vNRCaGYXBz7/Hn58cuDxAttu3AqYIhPYSg5NSKqGVS7RDCGcMwPnTfffd9ay9gf+65546wPP9HDMuFfcHWNdHTsF6OHMmVuTbB5UnZJuWFO1fPAQi/AzD+35FI5MvljEXbUgQoAj8aCFCS3Sf7bJMsx7nSTT2Hr6XXFptZXlDSq0vtjR0Hb+y2mJta6jYCnRu9FHa+ABAibj94uuhZMTnnXF2Y6kW6qpqGzpPcyTzPP3b27NldWVssFvsYhPDjkr9p3hdqrZmJN7O61JRJJkSETA2Z5p+wLPtX+0Vj3+17hs5HEaAIUHPxvr4HnOZijndlmroPX90LgW0zcFPP4Ysc59qWy1hJrTesLkwcJrLxbvd6Y/vBm+XIqSkZSUmueuX0agACcMU0zT9HCP31/fffX5ZmWcqcw8PDb8AY/rEgipKvqSPB8S61lH7ltlEzSW8mmZC0TKoDQvh90zR/ZXBwcKjccWh7igBF4MWFANVk99l+Pv/88y8zDON7RFtkWFZr6T2+ayZiAsXC+NUwMjfOYXfD0UpJrwbk9VVJlVNtEMKbGOM/jUajn6p2W4h3tmmaz0KGjfhCrSsFC9xXO1FOf6Klry1M9hma4kYI/Vo0Gv2DYlM888wz7IEDB/44Go1+uFhb+j1FgCJwbyFASXaf7pdDq93xzLPW4hdyZqr1PLnjqak1fya1HtSVpAcAMIsxvogx/oVoNDpb7tzxePzDGOP/6fGHZjzBtgTDMKjcMaptbxqasDR1qx9g/AuRSOSJncaLD4/8E0bmA+R8OxqNkvN4elEEKAIvEgQoye7jjYzFYoQcoL+5Y9TtC1lJKaq9TF0TyVlvvnHWVuYPyyuLpCBASees1cpSqL+aSfkya8teVU5azlIY46ei0eh/LTZfLBZ7OWTZP+V5V6M31LYuiFKmWJ96fq/JaU9iduwYQui1991333edc8VisecxZJcgRvcbvHfd4CRZlOcPAgDGotHogXrKRcemCFAEdg8BSrK7h3XJM8ViMXJuyNsORq19J0ZgldrYwp0rYYTQ5n5DEGzrHXdJ3qUtySQ2JQy29NxweRtI2NCeXqah8cnEfKehqybSNRYA8K8AgE+Ew+EXcgiLxBZPMSwrewMtq7UsB1gtAEuTNwYMXWMwxh+NRqO/CyE0Y/H45zHk3qIJgQRiBM1kxTRvZBpc8iw5534+Go0Sr216UQQoAi8CBCjJ1mkTc2NeiSkQbhRb1zmO6z179uxCoamdpuLGroNXecEtVyKmrsoNK7Njh+6SK8AAMibAiPM1ti6nEguNm2E6VqyOy+NbCbb2jlUyV737KMnVgK7KvJJe82OMRxEyP62q6pMul+vdAMLfBxh7PI3tSz5/43i9ZSl1fGcYFIL8IoP1JgBg2uTcGdndnk3qQcbzpCdOQqSLCKGB++677/lS56DtKAIUgf2NACXZOu1PPB7XMcZcoeGtGq0QvqrA94T0yH9Mpc5HmpwOJWbH+jfHxynfQSuWlTE0UZInT9rzNoTa70iB2hWCrxOcW4YlhCunVtyqnO7gBHHB5XLhdHKtNdTSMyV4G+Z3Q4Ziczjwz2JP+rCmKpmsa5sZ2y3P97NGKkTamKbpr4endTGZd/P7H/zgByFBEL4KIfwv4XD4B7s5N52LIrCbCFCSrRPa8Xj8QYwxyeELOUHMNHUdssJx8plniYbrSPyQ3ROW49XmnqOXKhFxdW7itJJZFzKeriuIcW3RhL3J21a+YdYlpps7D12rZPz90AeZOsewvGHH7lb6QlKPtRQi2WJzkb2BEE5FIpHuYm3v5e/j8ThxbmuzXwIBAOhrX/ua8IlPfGLXndTuZRyp7PsfAUqyNdyjH/7wh30cxxEHF6JB2thu8Q52kCzRVCEvSuuNHQeycabkHHJx4sYZhmHMlr4TFZsNbVNlyncwb6II62HOMGZrFXPUELqqhpq9fZEQ066EHJUq6OLE9bBp6NY9UGgP8o3lTd05C7DJYoyXIYTuaDTqLXXOe63d8PCwhhAivgf2Rb2r77VNpPIWRYCSbFGIijeIx+PvBgB8HmOcDb/gBEFu6jpyJV9vZ9akQFvfDVHy1szJaG1x+riSWpXss1bbTJwrhzc5GiEWad7lTjZ27n5GqeKolt5ir8KOiklY7EWnUH9vcnQAgLv3EoQwGolEimbVKibPfvs+FosRgiXJTnDKd2DEmxwj6zai0SgpOkEvisCLAgFKslVuY46DkzUay3Fqc8+xHc28JOsRw7FGvoxKlYpU6By28MN8w2wcaO+6KboDNc+2VOk6yu1HSJZosq39J/cVEVVKsnf1OsR4U4R4ACEep8ZXLkT7sv3Q0NABCOFtACAh2WGAs+tNv5g1+H25GVSouiFASbZKaDdjWckoqwCAP4MQ/j8YYxJuQi7sb+u67ZYCa1VOU1J3Q1fdS5M3T5DGpZgoeWWl36UnLGcbf0vXLbd3d+QsaTFlNNpPmixCpsAwrJWK0iZZRWy7ZfCeiu4BT3riBES624YDQkjOLF8WiUR+WAZE+7Lp+fPnT7Ase5kIJ0ud101WTHmSd85AYJIXildEo9F/25eCU6EoAmUgQEm2DLBKaRqLxT4LAPiAs+1uOuSszN05o2ZSfNrTfwEzjFFMZsaU/VJm5hBpt5tyFpOrnO83NFkGtPaf2BNNlhDr0sSNU86ygESztt6yMAaa0DShufwVl/mDyOQEbbWVM9MBEuazMSz+u8HBwbeVg9N+bLvpxzCGGV5Oe3qs4xVvanQAI7Q2ODhovQDSiyJwLyNASbbGu3f+/Pl+lmVvk9SA0Wi00zInQ4i9gZZpb7C5ruElyeXZo5n1hJc82BV3xw2Dc5d01gux4fKkxk/dq0RLSJZlWVJ+r2DJvRpvc3Y4TU4HE7NjzgxNlkObc75SrAqly4fh5tklmeNKNBrNhmOVPsb+aTk0NDQAIRzWhMCM5mq0Umi6M7MHWSQ3RCMR2yK0fwSmklAEykSAkmyZgJXbfGhoKA4hJOXhtl3VeveuLc8eUZIrPoxyoh4Yxkx5+sv2TN4M7dnVXMnl4pmv/U4hPAvjV88g0+QaQm0TUqBpqRbzOcewTcKIE1IZd/f1Wo9faDxv8nYYYwwHBwfv6d9wLBYjBTBO5jro+VKjZH0j0WjU8hugF0XgXkXgnv6B3iugX7hw4X5d16+RN3aMcQ/xjdqUHbb2HXseMpxZ7lrWl2aOyskVorVmK6unPX0vYIYtaiIuNJdLTRzktZUAL7qTe1HDtlwM7Pb5zmTT64lgcmkmNwdwzV8gFu5cDRMzsSq2jeq8pyb5pUvBQUpPHWOQKt3rBQVisdgtjPHBdMOhLaZ+b3LsHAAIRqNRqs2WckPQNvsWAUqye7A1sViMmHG9xKuy7cDJskycuir7lqdvH7HFrq0pEgA7tIckB2BZ1mje5VJ75W7H4vjVU6ZpujhOwE09R7JY2sQbaO2bMAxFSiXmm8Dm+4go+VYCbb2j5c5VqL1d4L5QuFSt5nGOw2mpgKjOH2QY5j+Ew+E/q8ccuzHm8PDwSxFC3zd475IitmZTYvJ6MuRSFvoxxvfRury7sRN0jnohQEm2XsjuMG48Hp/GGHcQBxZvkJzVtswnZu8c1OS0n2EZs6X3+IUiD3SQ8vWPMAhxiOG2FVWvdkkOorWGcnu8q/7WPnLOvK8uU9P4xakbZ4hQTqctUqN2dX7qYG5YjzOXMC+4Mo1dh60sXNVeu02ynvTkCYg0y+M4Go3e87/heDyOiEEmj8mYhC9NRCIROz1otVtF+1MEdh2Be/4HuuuI1WjCWCxGys25NoeznWW2OM3wopRkWQGrcrKhuefIxUxyrTW1PNNCtMyU7+BIjUQpPAwyBW96/PRGGuX9531sqLK4NH3b6fhjm86t+9obaF71hlq3vRzUMuQnS9yQNVLevoIvR7XaKwbpopSeIGvGDMN8KhwO/3Ktxt6rceLx+AWM8Zlcq4xbnjnEGrKPmoz3amfovLVAgJJsLVCsYgyHVrsejUb9ZKjNUnc7Zb3ZknS+iulL6uqWZ86whmwlQ2hs6bnB74MyeIsT106ZhmG9pATb+u6szN3psxdTLDFFci3Rk16eafY3tt9x+6srjlB1womSdmBrI0dGqAzG+E8GBwd/tYJh9k2XeDxukGxp+cztxMGLYZiRcDhMHaD2zY5RQcpBgJJsOWjtctuhoaF/hBCSWqmnieaiuhrHXepyb8bTfQUx+Quv11PE/eR9bGujbn9T0t/YdoOs2zR1gWX5ksznpH+1+aHJnLYctT4bL7aPUmbacnwCGJPf8A8YhjF0Xf/jUCj0d2tra/8DY2wODg7+UrFx4vG4VREoEolIxdrW4vuhoaHvMQzzEoxxGgBAYocts77iaryj8/5E7hyEZEkCjkgkUrCiVS3komNQBOqFACXZeiFbw3FtzRYznJ729G4pWF7DaYoO5UnfCUNkQinQNNMQarNiGnf7Wpq+ecxQVUIIsJrYWFsDrTYBx15osjbmzvJ4xImOlCx27geEcCUSiYTOnz/f4CydF4vFHsEYfxhC6AEAnNvscysajZKi8TW/RkZGXmua5rMksdhmDDGGkEGYyAsZlPIUNrP70nfOYmRyL4az55oDSwe8JxCgJHtPbJNlQibBsHC3NaY8moVltrPJKTE1elTTMuRhTT4ry1O6XOgTM2MHNSUdsPqRqjtV5Cq2q+RUS7KL41fDpmmSWoUgNwyl3PVV0l5UF7pNKGZ0oWGZ9CfWBrKmxfGrZ03T5DDGtyGEBzfPcE+Gw+Grdr5t4mxNElORYhaGppGKPzV5HgwNDb0XQvjHAICGzTVZ4yLIyxnvRlanUi+XutjJa+ut93qoUqnrpe1efAjU5Ef14oNl/60oHo+vYYwb9pJkienOWcLP+QB1IsawrN7Se7ymGvfK/ES/LqeCpCwgK4glZbIqtovOsoOhjr5rgujdVky92Bjke+c4uxnGs002hBhvemyAkKyylgitLs9YXrksy+kImZa5dTOsGvpbO0eV9bWQN9g6w4tu2bEGkgAib/KUUrAgbeLxuE7ydzMspxP/LIwQQ85cDaEhrbiay65f7EuNDiCEHh0cHPxCqTLQdhSB/YIAJdn9shNF5LALEezVQ9wmWIZhiKkPmKZh3Tsut1cPtvdZhJpaXTyQXlkIOvJjbFmVL9g24Qk2VZTDd2H86lmSuUnyNyUbNs9gq9269eW5I/L6ss+Wt6nn8MVKqyLZJKWKTWP5zharlbW0/oghKRcLaeeLE9dPAYxYl6dhuaGpcyp3TDtzFoRQwRgfiEajJR0JvPDCC6/UNO0zEMJOjLFEzlgDbX3XXW4POXe1rvmxywObzk1l55f2JkfPAYAno9EoDeUp7UagrfYRApRk99Fm7CTKpolvV72KnfJ41m+VXBg9vZ7oTq8sNBMy3tCeEECbpNzUffAyx7tJ+FLZFyEBCCGsR0m7zXJ5qLX/ZEWhUXt5NnsXyJ1JthTAl6ZHjxpqxgshnIlEIp3F+pw/f/4VLMv+y0a6ZpKmG4JAY8eYqyG4LfsVwVgXguuqK3Sz2LjO772psXMQYByJRF505f7KwYG2vTcRoCR7j+zbhiYLgVV3cw8uctZXLDRmJ7FMQxcWJ66frsSjV06uBOXUaiNJ1gEZFrT2HS9bGyoGWbWxsy8WkrW0zjtXzmGEWIZhVkzT/ExuiNDQ0NDRwcFBK09zPB5XAGTY1r7CCVRIO9sSobhbpg3ON1dsP5zfS+mpowxSvbU6My5nbtqWIlAtApRkq0Vwl/rvleMTp6d8ojJvpXGs1knIeXbpPNtlWdZszpPlCiGdW566fcI0DEuDIabqhqaOGdEbKOshXcoW2Y5Qla5zdW78lJJJunQhMKNuVpMpZd5atoHI4DzpibNtB6ovXr84ce2MjTuEcPKrX/1q35vf/OZLEMLDGGNyvruZOKW01KC2I5YqtszpvG+6nHWTQgjkXJZhmIfD4fDT5fSlbSkCe40AJdm93oES54/H4yMY43O77fi0GRsLWvtOXIAl1KfdaTmJ6dvnNFW2Er4TwsQYQgwQsSdb3RqaW+9IvmbLS9Y+w7M+b2xddjc0TWwWLC8RsfKbpVYX+lOJhZAgutdDHQfLMmkqqfXW1YWJLtndfs3kpOxZZPlSVN6jliRrS5GYvn1MU2XLe5wQqyBKyVDHgZvLU7eOkw9CHX03Si1wsXDnyjmEEItZAaWl7rLM8t702FmA0Hw0Gu2qHCHakyKw+whQkt19zCuaMR6P/xvG+GW7SbKe5O0BaPEhg1v6TtTFTO3QbrfgwjAs5t2SFmztvVQRYBV2quRsVlMygeTybJ+uyqzJeRKyu22swumr6gYR4jzpOzXRZJ2CrC/NdvCSO+2WAmvlCLg0deMECQ1y9MmmDZVdTQum4J8sdTxPevwMCxAIh8M7ZUIrdTjajiKwawhQkt01qKufiDg/mZw3Ibtbd+UhXu05bLEVz49dPkdCPXShIa0JwXEMWNUjj5+DpgkDTe2jYkPjrpWOs2Vdmrp1ztAUch5ptPSd2DEXsbPggN1/N1+CtuGLTN6bGT9TTfxwsT0r53vrBYpYLCCPoakytnPUpm9BWefqrKF63PLUMYTQj913330/KEcO2pYisJcIUJLdS/TLmHtkZORx0zTfowuBWdXVOFNG14qaujOzB1gzE3RLPtXfVh9tslBKwr1O37hw50oYIQQ5nleauo9ezgfg4sS1sGlshDFZDtQMZ2iu4LTObSSF2IuLQYYgZSZO7weStcOBUr4DIwBAkkil6stLzmUhfC4cDr+06sHoABSBXUKAkuwuAV3NNHaGHjLGbmlKdj1PUfLqgbaNONhaXvNjV85ijDjMCSjt3no+J2bmTnNmWiBnsJWG1FQrq9OM3dh58Abvcm9JgLE/vIm3rpI1VY87M3WsWge1arEj/Ql+GEKQ9h4oS2PdaW5SqJ7FmjsSidBC7rXYJDrGriBASXZXYK5skng8/iDG+It2vlfEiSmD9axoQqCihA7lSkE0ynqcx86NXiJ1Qi3zYcqX/yHsTY0PAGwwLX0nRhiGqYkmZK9fJ2eoK3O9ofYD28zBiZnRs6GOjc+dRNvUdei6IicbWYYz1han2zbH2rO45Xx7uZearJxcblxbnO11eI0DzLqNtNRRs/J/DFLdUnrqBADgI9Fo9HfKvZ9pe4rAXiBASXYvUC9hzhdeeKFL07RCjiFZB5J6arZWAgqGqSpHcO5SF8evnjFN0wrJ2Ul226u5HlqZ8yyVOFhhjGCgpXfC5fEu2sRKYoI3M0FlsSafAYZTsKmLmOWVtNST15RcwvbWpclekaxtGs4uimGxIjRPGLxnqdYL3fQTMGlVnlojS8erFwKUZOuFbA3GjcViCwCAZltrghD+Kcb45XblFAwgTtcxOUWtNVkS97pw5/rZQmZE1lA8bnn6qFMbqjXJLkxcDyNDh4gX1xld8TnnIlo7OYu1Y0DtqkeOnM37SnPNvcX2kGQtB6eUp78uHujOdUrp8TMMMkhVno10YvSiCOxzBCjJ7uMN2ixmbZ0/YYy/MTg4+KZYLKYDADgAGEzqmpAQUwShyUIIUt7+52u1HEFbaRHURLe7IZj2N3WWndQ9nxy2lii7WidMwbvF5C0q8z2cnrJeKBiWJfVhsqkYvcHmaW+wtSYJKGwZMp7ei4jhNAZpokte6GGRSgjX0l7zVdMRlfk+RWy9Uyt86zHOXpJsrc9fd8Jn08pxOxqNHqoHjnRMikAtEaAkW0s0azjWxYsXW1VVtYgFQmiZx4aHhycQQt0kfcPnJ6ThhzqV8IoO9XaXaTkJbXhyVn950hOnINJd1aRRzJViZW7soJpJB1ShMaG7AttCkNzyzCHWkP25mqtNiizLGvmyQpWzWttr2OTda7LYccvZlzeSISEz378X5erKWcNObfeCZA1VEZemb50EDIdTnt66a7Jk/d7UnbMAmzgajdKY2VrdPHScuiFASbZu0FY/cCwWexkA4H0AgA9ujmbVLX1s0pP12HQxgHu4K3NWcbfeNjjvarWzepO3LaekWhIskWlu7PIACXTZ6RzWlxqNNHYevM4JYspex9LUzQHLvLthxrWuUk3INkFLgeY1eW3Jb5+x7lUlo2r3plj/vSBZXZHdyzO3T+wmyTJIF6T0xGkI4WcjkcjPFcOFfk8R2EsEKMnuJfolzB2LxQjh2GntwIrOpL8yK2bNtyd8Rvd9Qa3F5L0JWaw+SUW9ElDMjV4eILVFdybZsXBj54EbTpK1IUquLBzMrC4FSEUfS5tpbJn0+lvImXXBK0+yiH19plrC7bBjk70gWesFiiSd2MXwMmv/k7dJRSZi4aGVeaq9cWj/uiJASbau8FY++MjIyKdM0/wle4TPTUh54w37JKPtgSat0+CkZcXdXtWZISkpZtUbddSIrXwFW3vO3r5oVfGplGTt0TLria71pZnWzb+xy9OwEmztyZsBK5dkVTE0rvPBmnu81gqjasbxZCYHoKnV3AJRikwb3sUQFgrHKmWMctt4UndOQ2wKtDJPucjR9ruNACXZ3Ua8hPmGhoZeyzDMZzDGfcQXZ17h1r+5IGw5Q7SHIeeybhbBakN5XOpSJ6+ttdXaTGzLeTcD0MGCyQl8qcKarBM2U9fEpambJx3F4e0wGyx5AooiJ0WEzI17m2HMlKd2DmElbN+uN/Gm74TB5nrrtX87LYposogTUCYnqUi9gSCVeTDGz0ejUUuTphdFYD8iQEl2j3dlaGhocHBwcMgWIx6PJzDGwazmZkL1mWn3jkny39+TiWDImACmEOoAACAASURBVOkqvIvtMJXm3qMXWZbXag1LKSbFUknWKdvq/PgpJZ105ZM37em9QNId1not+2k8O56YvIz9x68uX/rUW5pO16LUXalrXFue6ZDXEu2VlLArdY5C7aTMzGHGlF3RaFSsdizanyJQLwQoydYL2RLGtWvEkgek2+1ukGU5m7pPRYwOIYZPTrqLZsx5e7sy4OfRjuedxcSp11ksmXd58sYJXdfcmOFx2tNT0AO1EpJ1rktX5Ybl6duHrc+It7W3Nt7WxbDbq+89malz0FTZ6aSZ/uW/W77W3sAKu02yydW5tnRiqVN2t98xOWnX8zYTbRYh9P3BwcFX7NU+0HkpAjshQEl2j+6PWCz2OADgPXeLX28I8s158dq8ypRVj/QNrerZNpfJqa7mcV1oqOjMsV4kuzR165ihKZbjVjGTtjc5Ggl19I0JoidRzbZsas1Yljqumaw7U81Y+7mvrcW+84kFywS/FySrKOve1ZmJoxhAkC6QIrOeGBI/AggwpPmM64kyHbsaBCjJVoNeBX1jsdhTAIB32V2JQ9NBjxE4E9A6vzwtVZSm72WN6rHDHtNDDibTvsJnnoXEtU3Fbn9j0t/YfqOCZRXsUoqZ2O5MSCPY1jfukrwVvSjY4yyOXwub5t0KOS/WkJ39QLIE81LO22t5T20ZCyPGctgD4LFoNPozdZuHDkwRqBABSrIVAldpt1gsNgUA6AQA4vOrwvjVdbYmJrZ3dCgDDVxlJuN65gneqCnK4pSnr2iiAl9qNOxv7poRvf6qszsll+cOpdeW/Jv79KIL3bGdnRZlrHz4S4vWy9leaLJ7TrIAAFKdh0EqOZul4TyVPphov7ohQEm2btAWHtguXfe1efHyksootRDhkW4lLMDKvIxtTbbUJA+lymvnKgacy0y5u4qmfLSzPrk9Adnf2nWl1Hl2amdnebLJFgPOSPt6a166rxayljqGJzUaIfk0Seavh55YyL687BXJri/NdmXWl1tNTtJld/ueYEteFDHG/zA4OPj6UnGk7SgCu4EAJdndQDlnjuHh4XGEUA/5WDEBmFc5ucdtuAEE4J+WXBMTGbbsUnYDfv3gWb8ewKwgp6XusgiqXprs/NhlEmLBlFO4u0GZPOFtCKUlf9N4rbYmMTN2VlPSnD1esbPhWs1br3E2CQU8+OTilnCok6289xOvCx3di6LtVhgPZEDG21+z+rHl4OeWZw9wprIQiYSPldOPtqUI1BsBSrL1RjjP+LFY7E8AAL9IvkKY5DDc2uipKemCikDZoSfv685EyFjlkIhNsLzgQo1dh2uS+9heTSVndd7M5PGGQChTS5Il8iQT84c43pVOJuaa16V7W5Pd3DP8TocWS9bY5GH5//22pjO7GcJD5l1fnu3IrC23mwyP5R28x+v9U9tMprIcjUbtZCX1npKOTxEoigAl2aIQ1a+BHcJjkyJrypI7M3PcxAx+fFIseoaZK9lb25VzIR6x5ZJsvRIYIFPnFsavn9XE1lmN986UgqQnPX7KH2xK1ppkLatBaq11fXm29V4mWU5b7xTVxbahCW35d7+3uiXDV0iC3Kff3nJ2t0l2YfzqWWSanOxuHzc5qSqntVLukUJtpMzUEQZpXlVR/C972cuy4XDVjEn7UgSqRYCSbLUIVtA/FovNG4bxQZZl/xRC2OWsCmOfjxJP4a/MSddWNVByOA/ZzEetxBS8kvZuLyjuluf7WSMVskSGEGHIGBCZAoCwpoXZbUjsM1lFbJk2eF9Jzkz1JNm1hakTcmrVXepLiKglDnH6WgMgxQlKdN6q4HYoq4uUmT7HmAprh+04OzeIkPvsTzWfrfXZejEBEzNjhzUl3WAIvoziarlarH09v/elx84CjC9FIhFS6IJeFIE9R4CS7B5sge34RKzFJPFfRuq+glhBtkUR1YVuTku2kFqxj03mz1lcSOyf7pDDXg5DABkzt74sIXCMSeW8jVq09hj1fChveBeXXtDbmxodEKUGLdDaXVE4007baZq6sDh+/XQhkmUNOQQhAAbrtuJ0HdmUHMNCYt/HBhANDmUsb9ZSSbsWt1pu2I5zTK/AMn/1zsaBeu6nc7615dkOeW25nXyGWR6lpZ6aHjdUgpegJVoFdaULAPBINBol4XL0ogjsKQKUZPcA/ng8/uMY429ZU0PWSHn7tmV18iZHrao1TvEKFQnIXcIjXUpYYBDMzXpEHtDkDPjzk1L8wS51QGJMe3zMcrzW3HN0x/SNlUBVTpwsGd+TmTzR4A/InkBL3qT/lcjg7LMwcd2KoSXeubnkKKUnzzHYYFJSzyWPOnsCGir7NzPui0kDao90KWcFBmWdp7bKQQofHKi7w4/tVZxPiyXySBxgHnuoZVdIVk4vB9fmZw+QeRHD4Yyn53kA4EaJpD2+vOnxUwAZyWg02rzHotDpKQLEn5Vee4HApja7Y/ymOzN7gEWyH2BM9gmuGoz5tzNi0VAYsp73dmciLASAmJ3ti/yJAYCPbVb08XHI844O7Sh0aLUW7zOs0dp3vGg6x1JwIySLIQRpb2kk5E2NDbjckhls66tLKIizMo8mNi9pfIPlxcyaSkDMTB9M6ty6x8WILNKsguD5XmxCAhIZCMFPtMgnGAigybhM2VM8RKkUvHZqs+FVDNCDTy7k1Rh5DjBP7hLJbrw8QSCLzdNmiUcB1a6/5P4bCSoGIIRXI5HIiZL70YYUgTogQEm2DqAWGpIQ62blmL+FEL4Nsa5URuq6XooInvVbVqm4UrXZfo/ZdsxrtqwaUO1ymR43i6EJAL6yzq2NrPG3c+d8S5tyLiQQR+cNM3JL34kRhmGq0kzsEJ5yTImiPN/nEaAn2NZbc3MxWZedcpG8Szg1WVGeO57IKMY35lw3H+2RwyRV30SGTfzjkqugRv3+nkw4d5xS9rKSNoK20i+oiZBiAuO9X1zI+wL0/ojv0JuOuf27YS4mOBqsR1WktppbPyrBJ7ePJz1xksGGkEgkQq973evWajEmHYMiUAkClGQrQa2CPkNDQ5iQ5F21cvuZ6Y5azGat10LaVQUibevSLZlNr25Se4mUnkDTjC/UNlvpuHb4TjnnsWQuQVtpkVC6van7cE00aaf8yaXpY+n1FZJH2ToLBxyPUu6eERapfjE9deipael5zQSmj8NCiDfd4zK348P5dS1af6dohDK+vosIsDWvXJSLPdFkry8Y6x/7h8TNfPvy7LtbrJJv9SbZhTtXziFUnhd7pfdRNf28ydEwxkgeHBy0cmfTiyKwFwhQkt0F1GOxGMlC823iH7Lh4MSYGamz7BzBtufxtSSX/OGKUHb/nZb63m4lzMKsMxRuO3Cq7BAie/x0cqEpubjQS/4u1ymI09ZCorrUX4wo5ORKZ3p9uaWp81DJzja2qZhYA0h5QFtek5XkhKwYX58Ty8L0/T2ydW6e8h4YBhA6LfN1uasIyWZ0YDz6zHZN9qmHm8McsWHvAskujl89bZqmYLKSJkvtF+uy2BoMyuvrQZe61AcB+HokEnlrDYakQ1AEykaAkmzZkJXfwfYmLpdwnDO5tOUOXl21PDmvJl2r51fYbSbf8iW728NBOjjY1nfTJXkrjjPMplOsgGSJRN7UaKSl99hFhsmvHSbmx09r6aR1ZipKXj1Qwvmt7VlMXnQ+NyFZLxAPdsmnJAZbtWif3NRiS8XQNhWXq6mXOn6+dqRKETllz+f4ZGuxu0GyZA7boS3t7b9AQsGqWVc9+0rpqaMM1sR4LCZ96EMf0us5Fx2bIpAPAUqydbwvYrEYefiwZArE8ErGsz12tdTpLacXAIBssuiZaVde7a3NZTb2SGbjcztouY92yxGidJGxcjffE2ya9gXbSopnLSR3OjHXnlxd6iDfK66WWUPwlZSEwjmeLz024PYGMgBgKLg9axAwiHhKQwjR+tJcj2loUPT6F+TkipXZp9RC805N1p7vfeRcdcPjuqDm/vZ29bifN92bfQh0G17Zm6FJDECClBw7DVgWp6TihRBK3fPcdt70eBggAxYiWYQBJo5YxawAlc7v7KesJUKryzP9mGFxuoTiD5XMKSnThxldaZDdHddNzp2qZIzNl7YwBMCMRCK0gEClINJ+FSNASbZi6HbuGIvFJgAA3URzkt2d101OLDmpRH4t5rZl3vz7BXFsRmG21Vt9aVA/etSne+2+GDB4SoHqdxdclgPRQx1K2M3djY3drGNrN4e1yvpkn8UaQiCpuBrLMr/awngyEycgqVhv6m4S1Wt9vmmMxRiBps6DlzmXW5FTa/61hclD5GuW5XBz77GiJm7b8cnWZott/+talIOdIgo42xFvaQSFrEexV54YAIZuEW811opisghq4pCgrfhXZKz+/JcWsw5HkU6++SMPBHuuLJgrJ1rY4G6QLJF1eerGCV3T3ElP/wis0kmONRWvOzN9xNrqDW/67NaTj6opV8iYukvKTJwEAExHo1Hym6QXRWDXEKAkWyeo4/H4RYzxKeuhwQhy2lNe0v5csaChiR558uSkwsvfXeC3FAB4X7ccYbJHgpYTsaU957tIeE7Sczcu1y6ZRtqSh3N6bbFPSa0H/K3d1zhOKLtCULlxsTvB70nfOQORuUX78Dd3zrl9wWlnv6yTleNDlygZvqaOUU4Qs2ZvR53ZrMm42Pa/tyczwALA5CNP3ki1uuR5kvjAfg2AitR+x2ClmpQvzCdbvuIA/+9rg2dPtPJcUsG6T4T8bpEskW8jRIsFaW9fxXHCnuTtSP4HEYMVBIBIYr6rfIGR5OkjjKH4GIb52XA4/JfF9p1+TxGoFQKUZGuFZJ5xhoeHP4AQ+gvyUq6IbbcM3lNVKMHGAxaCb80LY29oVfudzsqIF1IZsTsbDsTpmQaDl9bt0B+neEQTs7I+IbPg/nuDzSveYOtoOfAsTl4/aeq6WM0DUVASrYKx2mHHBtvkT/6fWV/ukhoaST3ebZemymJi+vYJogU5vbjdDf4lf1O3FQtrEQLG4LFJT8mEUChMx5seC1vpFgEAfz0tvaAiaL67Oz1Q73Jvm8cG+EFHcYCnH26OMAy0zmrJ2ewuk2yY6JzVJOMQ1sdOT8pQ/96S61q+vX13jzbAAyPvi04596eUmTpK4p8jkYh1Dk8visBuIEBJdhdQjsViGknttFHyrfLL9i52jGAZUXXeP6eKTXnPPrPnhRud8h3FWiZOKTN1nMG6CyBkacEsx2GOdxmGoXOEkF2SL+kNtoySc9FCK7DjYhWhcdlwBbYkry+2aogMzpMeP+tsV6oJOHfsudFLJG/tlmxZDMNghBDUMTCfmJRKSuhBxrUdwpyarO2A5HSiGvCbrWf9ahdi3UZG6qh5+JG9xty0iuRF65lHrNAd/NBTC8NPP7zrJBvBAIJ0FRmvPMnR8I0Uk/lBIj/JvrdHCbOgslrJufcGCeshP4NoNLrl/ih2f9LvKQKVIkBJtlLkyuh34cKFD+i6/tlandcRsi3njMpOx2fPL6iJNkFb6dCFwBzJcawKwXl7OS51uYNTV9od2mCWmFmWxc29xwuee9pmW1lsHzN5adu5cSHIRG2hm1OTLeR7TnAhty+06vE3VpxW0TZZk1Cdkw1mT9SvNdsRNqUm87BlfbQnQ5xmIOa8GkIAMDgtkJSMGED02IQ7+9K0W4kpcs3Fv/3joTNHmjieaLG7mVbRxqfcjF757gFh/c7J2Aq7eiPFbTkGsNse9ZqdLw2pbSbnScjutorvCzIeY+iCJE+chhASR6gCaTLL+HHTphSBIghQkt2FWyQej69jjH21ItlyRba1n3LmJ0UKMIJYdTdb5lkpPX2MQYpH9PiVQsn7N4oBsDhVprepraHXysxpPfgBgx+buFsu0NZIyyVZpzbrwH3bme5ukKxtov74d1avXZnXLEe6xx9qCYscsDyON6rw7G6pu3ILQFRCsqQPqS5FnOEyUs8lxHCaOzN9iDUVP9HgNVfjlCYEFnb6XZDCExiQUCMGA4gxRIZIibbcJwltXwkClGQrQa2MPvF4fA5j3FqoEEAZQ1Xc1KWvd/PKYovOeZdUd6t1PlnJJaWnjjFI9UCGAa19J7ada86PXQ5jyICdSHaTUO3pyf2X1ZRrSrIYgscm3VkZf7pTCXtZBCshWSJsgDfFVZ1V3AJkZA1vM5nvCskmLQ/zLcXav/Cu5rCLhfD2spF6fCQ59YnXBo9xgoiaukpP0lHJveDUZMm/y3mBy51PWL9zKrbCrhTSZLMkW1xQrLjabiPOJbNGMsgggzdZKelS5g7t8KD7XjQafWXxoWkLikBlCFCSrQy3knsNDQ3NQwhbqnkIlTxZgYa55uJqxyOacbCtb9wlebcU6J4bvWwlS1BdLXO64Mua/gRtpU1QE5258xKT9GYuZ0DOTFv6ThQNwdlJ9sTU7SOaJvtImxsZLvX9JSHrCNbhRqHXNyv95LsnZzwjmrGdKDmImMNeHLiaZEs2ddvy1JtkXerqAV5bDo4u6+lf/daK5SB0qs0V/Phr/KQSjkW87Q2s8Km3NJ4m3xUz7Vd7DzhItqr8zbYVY1zm5X9a3Oo175TRxQLukMfsOOrTG90QQA5i+MNVYXZOZdbe1qZuK3KRuz7yJpcxGSxADHlS6dFxQQi/EIlE3lsrTOg4FIEt9xeFo74IDA8P/zZC6KNpT98LmGH3JOPMprm4qlhDGyVPcnQAAszkap3L07eO6qriRayAZHfnRWcWIG9qNLzpLQwEl2iGOg9tcTxSkmttos9fVRIMIt+G9zAkBJv8wTK/LUb3x1uU0+0iIpmisubeZgG5owG9a0xhl18S0CwSxgDgxzazQpV6d7yvJzPAAMBoYtOSxvu3WQsYU3VL8vSxtNRzETNc2RmS8pW5+7FesfU/v7yBhBBlSfYPfiJ0mmeteC7IsCxu2eEMvdS17dRuwzRfmeOTM4tZpRYGItsrm4xjByTNQ17Yvp9wzfp57GmXkMQixMxoXPq4x/A5rRqNAvaZAKBVDabf3S2f5SEwU6lk0wMPPFBxwotaYEnHeHEiQDXZOu/rXp/Hkijdjdq01Zn0bJjseEMAIXC5PTopSbc4cf2UaeiufJ61nszUMRfPsqGOA3WpqmPLlfVsxgz+4uTds9jc7c09m3XmMHa2JYUCSKrFcm4PMhZmOJz29A6zhuwV1YU+AwETYlMkLyak9GDOhVVXy7gu+Ky4WkFdaRG0hBV3axGxqfPkHNKZnMuZ7Yl4FRPvYvszoskSkn3ki4sklMfSMMlYTZ0Hb3Iu93o5aym1rUWyFRRsd3rKPzUtXVBNUPaLh1PGzX0sOf7Z2fd9PfI5BgI9GonYWb1KXT5tRxEoigAl2aIQVdcgFosRk+WRvdJkbWcZRWq+bbANq9Wt5m5vT3r8NMQmb2uomhBc0VyhLXG1Xnn6MM8Cd2PnobrUhnWuxfZsLqYRvTyknjjkzaZItIZQTAYzDADCRnRS9jdBqvKoJjBLxYw86BFkMMQIIgCxbgJwNcWtzKns6rzCrJBx3tejhInfTaF6AlbB300JiFaOAAYGBkBgNgT76jV5+ukL6YX3DEhH3nBE8hD53vPFBetlwEmy5O+nHm4Z4BjA1CqbVy4OSxPXTxqGLmakvkuIZdVScHIpiXZeX7HSbpL1PTPrvigboKoKRm9pV8418ohVTUZ/alos+17jIGbe0y2fI8aQaDRqyUYvikCtEKAkWyskdxinlALt9RJDkmfPMEaGr9eZsBVSAlmc9m7N2SvJswcEaDSEOg9eKZTov5ZrLpVkyZwuBvA/3amc5iAAawZAfzsjZjVWSxtlOQxNA5JcwDvlNM6V3+oLGHxhjV17Pk/N3nzrJbmkSQUfu45voZcEjoHMu7vSA5anGMbZlINOzTaXZMl8tkZbK6cyew2zty9ZWrTBeWXF3bolA1mhfSU1XiHaSFby9IxUFbm6OSAc9ehdZ/xmgNmsgVzsBWun++1cwGg+59e7IAAvRCIRy/JDL4pALRCgJFsLFIuMMTQ0dBNCeKheRJdvetaUQ+7MjHXGSC4r9IHlS9I2yoMEMd7k2EBG6ryNWNHSlN3yXD+P1UCove8mJ4h1P+eyq/4Qzch59lbeOjZab5CsgKCpWe4xj01I5WSHypbP+35CmL2R4koujmCbrcmcT027X9BMmPf83i7w8J6nF0ZUw6qLm73ykewXH24ZYBnA+Bpblj3+lrIShBTCz36h0YWGlOpqzjqXFcPbNhFXQ4avbNSO90umlGMJwLMqs/btebGqylRvaFUPtblMP4TwQiQSIZotvSgCVSNASbZqCIsPEIvFyPlYXHM1TWiCf7F4j+pb2GZikxPXZHfnrepHLDwCcWzSXY3LKu8fF5WFHt5MN4Xa+sZ4UbJMpPW+7OQT1ZztZUvXkUpHUuctEod5O80tfm9ZIIUeSr7s5BWkQ26sbrFBiBPWm9qUEySW83OOGN/cfhsaM9iSWpG0yUey5HOSarHS7Fm5c9tn3zrvy6hiy9Via3J+b6cFrfRF6FXN2slet2FpwkSbxxBiYm34wqRUVSY1p4zv6JBPNnCYxNBORiKRnnLWR9tSBPIhQEl2l+4LYjKGDGMkPf11S7m39YG2UXt0N7Rn8vA0OEnDjLDMa6vtwdaeSZenYcfkALWEPV/yiVLHDwmm+NY2lVRoIQ9toLrbxzDEwJ2e7U+brPrstCtb7abUMUm7R7vTJHkCKFdrs8l+1WBMpxnbOffrW9QzHaLJ52qzO5Esx3GoqefYCCmSQAiqoaljWvT6s5m+SllbtsIS61UUqbUsRzZbi/3uojA+KXNbQr9KmbvLbTa9tlntJW3LxbSU8e02JNeiVf5w4wj8iWg0+p5y+tO2FIFcBCjJ7tI9UYvC7eWIWsuwnZ3mFbREm6CudBKtDQIMG5rb5yRfKG96vGLyO3MOl3OGaGtX6waDvjQjlqXV2GZa1dW0qAt+S2t1Z2bPsGaGf3JSHNEwUzBXc7H1WBpnGSbsIz6j80aSmy6WneptHcq5AIfY3LqyO5KsICJDU7bk63V5fGqwtTfvS4ShyA0rC+OHTMPY8owwGR7Lnp6y45ntesjlmN9tfN/fo4TB5rnrDxKu29dTbM0c+Ow5HmhS+3vdRohoxySGi3iLkTBuTdM8L33pS+Vie02/pwgUQoCS7C7dGyMjI/+XaZr/DCFjJr39ZYWGlCuimJk5w5ly3ZydtmrMG1mIiLssxpiRAqHZhlBHyWeRzrFssy/5LNDccVv0hUp6mC5P3zyqq6oXYQg+78jytBNuEoe5BztkqyCBU9vnjFS7KC90ECtAtRqTTZaxNWHp0hqXN9NWkDd9b2rTD7MbEAIdM5iHCOqIwU9MbYQivblVPhcSAPsvCWEixCPfmQY9CHMyP5F2p9t47397VeDou55a3HKO/PHXBA6dahNICkJwc8lY/+i3EzdthygSS0sKJwDi1pz/yoYQmYJfll1NJTk5OYeySxaOplj5XxOusvtXE55T7Lfz6katv1vSQ87KTaQPif0lZYMBxlo0GqWhPcWApN8XRICS7C7eHPF43MAYs/U24VaSq7hSGDbnWo9Go/5YLEa0PvuewgzLmsH2vhu84LY0gZy6r1j0NqwEWnqyCd9nb1+0TKz2U51U/GntP1lQM7Xb27IPr4mLL6wxRc9QGwUsvqVNtkzEJudTZHdL1vRpYwcARJ9zFACoBJ+QgMW3bs5jYAY/OyO+EA5oB4dWXDcf6SSxmRul8pwX0XwJ2d7MCOl/X+KuvbFVOdvqQlsS2Vt0uOlhXMy72B775+9v6Pybi5n55YyRjUclZ7WOuZ0sCw0MEAfvVjKq5p6txuHJflGZk/nVby3yVTk25WL9vh75LANwFltNbJ3ReO8sNFQf5lxWHeJN2dei0WiwknuA9qEIUJLd5XuAmI0xYPW0r6/seL6ioiLEe9NjZ0i7ah6KRedxNCCkBCE0IpGIVVz9ueee+xjDML/pjDfdbG5zp/0wz5JxbltCSCRxAwlryWc2VlNr/pWFyYOk37LB6ucT/PiCwpRUq7fPa/gfCGmHCmFEithjjIheXrUma8NUKOEF+d5AGD381KL1IuFMIEG06Ee6lbCwScSETB+NNLS9ol9o9rsYwQ7jIf9/8MkNzbWQubic/SRtv/hIS2QzcYa1Z+SsOu09ULKXde58lZqK39mpDnhYkzExNB+fdNfU+tMjId+rm5QjxX4rbnnmEGvIxAqwSom23DuJticIUJLd5fsgFouR5AZVF6DOJ7athZmse02WOurqUWzPb5/95qvPGY/HX40Q+v8AAPcTDdUm4wsXLnh0XS8Y2rNmsOaiyqiHPLpE5vE0BOd8TZ3Zc967ZuWdvXCdGDW6TPHNLcpJ2yy400uIjWO15mLn/G9vk0/4BSxOrulGwM3h2JS28r9+sLalAP1TjzQPkOK9MwqjLWmMfKbBsKrMkLzE9li/+kBDf7RTDBkI4Kl1E/UFWFL/12pDzMW/8ZrgUfL3k8+np798OV2WYxOZY6DDFfroq/z9V5e09ZFpffWRs56ejNR1A7Ebml0lF8GzHFM+maPbjRpfElJ7PSyuuKjDTrLmqxNcqL0jO9VHotHo71SCAe3zo4sAJdld3vuhoaG3Qgi/gjGnpxt6a6PNIpPzZMbPEu1LEVtuGbyvJK2uFku3CSkajZZ1Lw0NDU1DCK3sOhmTnDBiXWQh+/nJuzVa7wtqR4/7DC8ZWJS8K4G2Piuj1EaOYgAemywthtUZnmPN5+m+hhjBKhWX77LzBNeSZMk8b2xVD7mw7vvg3yzlNYET863tKGWTQK5zk63t2p8/80izZWInfxNN9o/e3Hjazhh1fkJd+v3vrZVVdekzP9UUDoiMVTrPnktxt00anKdib3Fyj8xpjPGtObFkz3p7/bIJ1aen3RV5eBfaX/t+0PmGlCqWFufrTY0NAIyYcu/zWvzG6Bj3NgJlPRjv7aXuH+k3tVlYTuH1QtJLRQHtPQAAIABJREFU6alzDNJYq/qN2Dyu8w1lh0dUg4wnPX6S1OZkGOb/D4fDH80da2Rk5OzAwEDeh2ssFiMEsC0WEWGIbLKNBo1Dp3ya5bTDsKzR0nv8wkbITmmJIlpcyP0TrST2tBQTOmbcyuIxVk+6NQyNJyfdJZNCKRh6WZJpKnNmTUb45760tMVD98mHWwZ4BjD/tiRO/1ij1kHOa3/m2eWRlGZu8W4mRKwjgB95akO7feaRljAxEtgka+cufurhljDHbFiqMjo2L83rq7/3L6tFk1E89lBLWNqsT/vUu1rCHAusFJGY4TXdFVoyOE9ZhRxYXfa6lZmj15Jc6ocrd6siFcPrvT1KmAUIXk3xs+cTfEWOdDuQbKQSE7g3NXoaApCKRCKNxeSn31MEbAQoye7BvRCLxUipsqO1yMJka5I6H5hVxcaaPoxKgYYzM34xM2udcdpv+TkOUPYwhBf/SzQa/UPnuPF4/FMQwvebpvkbDMOkMcafJscYxPHGmWTgvd1KmN04n8x6u5aiadoaUTHtlcjkTY+HAbobslLK+KVgRNq8NKR3HPXq7eTfznNUu7/thETmLKbFPjacWvza1Yzl4GX3yyXZh856Drz5qDu4rmJMNFOBg4CYmH/97xNXby0bBUNSnnykJcwBAB98csE6gyXjyzrCwzPa8kt63CHA8oYhBJZ13lfSvVbpeayd2aqWe0DWc8hrBl4eUg8ChsU71T3Ot68MUt1SZvo4wDgVjUYbSt172u5HGwFKsnuw//F4/A8xxv9ZdrdfMzmpoNmymGicnmwTlYVOk3Ovye7dOYPNlckOz4AQficSibxueHg4jhAKk4xEX5yWLrQKSHpVk3wkJ0QC5zvDtceOxWLkLLFFwYz+xcm7Cd/f0aEMNHAoG+v53Ko4f2Wd2XKumSufRVglPlDd6alzLFLJGad1mQCYj0+UV4lnB+3JSnDwwS8tX1yVzS0J8R846A784kt8B0mmpzUTmn7W5G4tG+u/9q3ETQcJW/2dBP3UI81hDkL4pSuZ6adGUnNOx6dX9ont7wl7m37+S0sXyRj/7VX+4+c6XNYZd64J2imz0/xMPid/E9cNm3Q//NKG7lf0uxsZlsO6K7isc76C+IvKfC+np5pmZFb/+0VXWUcjxWKFi/02iu2DIrbOGLx3ttxxRGW2n9MzIQDAcDQadXpnlzsUbf8jggAl2T3a6Folp6imILuz3BhRsDKe3kuI4cqqiOJWZg+yeiZA+hPivHbtmi+VSpGyatvKjlklxQC2SawY0drhQPi5FWHiSvJulqBwQD9w0mcGHt+hpJ29rU7PXlnquG2y7h1jb2087f610qQ2ElPc9QR23nb/6eWBnpf3Cs3/tCRMHvJozd1uIN5O6KmPfHPFygv8uYeaTnu4DY9i25P4qYebwxxjnb5mHaOcJPuyPrHtA1Fv88/+9QbJfuzVgYMnW7gAxzIFSbbVx4p/8tZGK7TJJuLcM2Bb7p+/39f1wAGpkeVYqPP+FV0IbDv79WQmTgJDF0s9O7fHdkEsPNwtn1402OTXZ1zb6gJX8pN9a7tyNMQjr9WXYXDK0192Qg17Xrc8e4A1MkGM8WODg4Pvr0Qe2udHBwFKsnu017FYjHjLdhi8d0kRW8tyTnGKXAnJCtpas6AuWWehtoZJHuDk0lyhKU0IluWVKmWmjjOmamlJAACS2J7EHm7zCs11QAIAzEej0bZCWxCPx3WM78YxPjvjuZA2cFl1R1/brB7ocpvkJQDK7q6bJufasa6q7S39uQlpuJZJEAqZgMnabSL7xrx4640t6iESJ/uVK5mZL4ykLE3r2Xe3kKowjE183X7W+4dvbrS8iJ2ex8S7+KOvChx9+KnF+EceCJw618677MQUTzzUEha4jTPafJrs04+0hBm48f30qiH/8tcTVtKIX3ipr+s1B9ytH/+H1dtXFrRtLyg/E/V1vOaw1MizDGcIgRVNCGTPfb2p0XMAY/YLU54REqpU6k/tpzrUAR9nMldS/MxzCb5sbTPfPNmXrRKtGsVk3bTgkBdGMRqN5i3mUGwM+v2PBgKUZPdwn+PxOMIYw5S3fwTAytL3VZJ4wu7T3Hv0EuuozGOHxuSGtxDnFUmbO5gv77JNSoarYZHTks12fVkHrFhGUCPlUAUGk+pytrl3R03WuS3xePwGxvhwOR7Fzv5HfCj4Y0HlAOI8WsbdZml2ha6NJPYYPDbpiT/anbHKuV1YZ6ZHVsWyHH6c45/06s2DId3p4IXe+cRC1sPYNtHa57G5Gm+uNuk8h3XO89pDUvBD93sPEBL95BtCZw82clyuRmq3T+rY+MAzixeefFdzhL9bTR5/5FuJq7cdZ7atPkb4k7c2nSbYP/1CKvE3lzLZ5CHOud894G37yROeTkLTuhBMaEJwrNIkFLU0FTsTj9Q6dtwiWozS0UiEJqrYw+fofp+akuwe7tBzzz13jmEY8rDFlXgak8QJAJnWOV264VDJyQJsks1N9GCTrOzuuG5ybiuOVdDWWgR1qdtJmuTfmOFViHSXM9bafojZxLup1Qp3+5Kq6DiDEPql++6773OlQB+Pxz+OMf6E3VY2ofb0tHtHoiykyZTiUWpXLyKE5+Gw650d8ikyXjVmY7tYwGe/8vzKB956NmiH3Nhy2iRqZ3u6MKev/tZ3V7LZjZwk69A4t2ixZKzHH2o5uyKbzH/8u2U7uUXEQNB8+Kn55wkxGybCv/I//2H89/7T63oFjoFT60Ym4GLcXhcDJlbNzK98ffna5lxE282aU51a7uV5Tf/Ed1bznq/a5I8hpwKABFK8vhzs/BzyvL1DObaJy7bjhlLul9w2NmFrYvOixjcUzQZWzhysoXjc8jSRlyaqKAe4H7G2lGT3eMOHh4cTCCHyJlwy0Xoyd8LQJMGl1lVyP9JYSk+eYJDmJjlrW3qPbzmXWpy4HjYNHWKGV9Keni2pBq10hwXy27o8DZqaXrfJNOv9CyGUI5GIbUauGOlcb+UFFae/Me8hHtolX7apGjGimfF0FswexBupVpc832WfKTfxZsOb29XD8yq79s15V9kJPu4Pap3HfUYbQhi/8ucfG37iv79toLc9wCRVpH1g87z0c+9sPesRsmbxbeTp1Fw3/72tDQHimXe3hMdXDPxfv5EYsbVjsmf/OKrMv+agu3VyYR09/NEvWQT8vc88asXXFro+9OWlC4kM2mKat8l+MW3iD//t8rYzzacfaQ6TxPrkZYvX1htd6mIfwgBcTPIrI6u8FeNsX29vJ05smLFySFp38UbuZnIldaj9zWz5L1L51mLve621WDIXYyp+KTNtedZjjH9rcHDw10u+IWnDHxkEKMnug62OxWIkpEIEDKekPL1FS4g5NEVSjP1yOcXYN9Mggqbuw5dZTlByl78yN35azSQFhmFNBKAOEMmbu5E7l2i+pqGJpqI2rK/Nd3oaGhfdvqDlXWrImeDS7OgB6+HDMBtJ5x1XLYL44/H4BYzxaaI9f2HSPWJgohmXdtl1XhEroIzUvS0ZBINNUVKmjgPDyHov29qrfTZL5p1QmMQ/Loh5TaYFHvKWB+rLf+5zWUvDv/3F+62iCra2aJ+5YgzQg0/eNSPb420kqdggIEKMf/bc+th3byqJ3Pkef6jl3O//69pEq4eVPni/t9WewybpHBnCJP3xXAqhdh9jrZlMQXj3S5cyU09dSOU9l//0O5pOhdyMKyEj/KGcWN9P/1TTQEhkGJ1vmFfFZuu+ELTVZkZdaWMBEhY01nh+lZ98TbPWx+XJ22xiYD4+WRtvbjJ3SEDiW9uUk6VYMEq7i7a3cjjKmdFodEuO6UrHpP1eXAhQkt0n+1mqt7E7M3eKNdPETFuWBmuRn5HxSPLsMbfXL/tbugtWQ1HS682akgqZhsGr6XUyl/Vwb+0/WbJJmvRZmrx+CpkmhxBiGYb5v8Ph8P+oBdw2VuUm8be1GpNxmbKnK6vNQmS4PelxK2GFTTYKZvDTm1VwckOHdAyNJ0pMVGF7Fb/ig49Z2P3znz06wHFwS8k5Ow9xPockW3v8ve+tjf/XV/hJPdW8WiwZ+5lHWiLvf3bpwufe2XjWNkn/xutCB063cMHvPjeW+fif/0u2yPq//cX7SZgVfPCJhbit9U7MraGeNn/WwarQXtkyfejLy5cSGVN1trMJPeXrHwHgrp8Br683cspSDwtwdu06BuCJErN2lXPfHJKM4MubNOuFj1wZT8dtxOzsVV7O+NbvARtuT+ruPUM+AQCTQhnEyY5eFIEsApRk98nNMDw8/L8QQv+BiFPItAUx4jypsW3l2Updgi81Sgp25026X2iMhTtXwkQr9Qabpr3BtrKcf0xDE5anbp0gJFsLTdaWcWho6BSEkJwLWvevgaH5hRITyDs9nDV366wO+TVPZip7Dug8Y/7CpPuCgeEWk6mdJAEBiBiAme8uum9MyjBvXl97rl/8nW/evnBz3vLM3dRiLdP7ZnlAq3ApuXJJ9pNvbDxyMMT6bBImbf78ueTYP9yUt2mxn3xj6OiBEOfdIM0WK6aWxLbaWrKtxT70+pONv/TgICFrGJvW1N/559VLTz/SHCHRQAghzDAbKRWL3VOETEcThvmr30xsMb3bmaYy3u7LCG63lGwkdJg5iiCjM8gQ7XnuZDjln5eEolacYnI591fnAinV3WiFQdXqkjKTAxDpDElhapEthGbSe+B5xjQEjzxxEmM8F41GO+35dsp4ViuZ6Dj7GwFKsvtof0ZGRn7aNM1n8xHt3RJslsBla7Gk04apmAGt/Sd2fIgujF8Nk7xK/saO2fWVuXZyTiv5AosNzV1lOY44Stsp9ajJGYvFPgYAsCr+ZBDQn5mSSkp48N6uTJjdTDno3P4vzbovrutQsx/UhZydXt+inm53mQLhxjmVXf3WvOv2+3syJMyG/J6s3xQZ6x3tltMUTKyrKOAVNmskWF9v0UYLeQvnlKLbMYnEqw+KoQ/d19DH5KzLJuhPPvbvczcnVpY/++tvtuJgyeezSRO1+1hyjJqFwcQAv+vJu05PhX4eRLaMgfGjTy9mz2Z/87XBs8dbeWIyLen+ZJAmEh+BzTksIdYNBn1pRixY3nCnn+u5BrXtXMDsJOZhzdU0r/MNOyYqKfenX+w36NIS7by60o4xnhwcHOyNx+M3McbkzBZBCDWMMQlZ6yt3Xtr+3kaAkuw+27+hoaHzEDKDJHug7XHskafOQSObiaikB1i+ZdkhFfnKx9nt5+9ciWC0/ahzpz6FINxI5L9RH5XUho1EItlsSrl9hoaGiOeL/TEWBKHnzJkzJT0k4/G4gjG2zNr5kmDkk+/ljVrXIY9Bzi2znsP2uS35TDYZ/PT0RtH0QtdOJeyIHCNrrokBv0q0Rue1zdz7229sOXkkBMR/vKUsvOqgq4UknHAQbEHzsHNQZ5k8p+ZrAbJZe9b2SPvaNXnlDUfcATu38YZShoFsAPPRZxZLKimXL0lFVmaGMVKe/rLyPjsTo2DA4McmdsY+357U08mJzGf7QuhCcFZ1hfLG70qZyeOMqRFnPxI7a5V/zL0wxj85ODj4d/vs0UPFqRMClGTrBGy1w9rnjphhMUQbnsRpT/8FzDBlJWNwylEodMfZxjYP258F2vpuQAZil+gpWJqu0FptTVbHAPGOAuC26Tgej69jjH2b/bNeyfmfS/h7PM//5Llz5/JmbDp//nw/y7LE+zcbh7umQeUHa+IdiDCDIcBzCpM3hSUHEfOeboVoooB4w47JfOZ7S3z2/LIwySphoqSQ750m/pyEFnY6RPzgk3e1vtwxc7VWGxNnKE0+OT7yKn9/pMNF0vxte5aTvnfDg6wXnWwbE2HAEqOn5dV79+Wm2Hz2AH/xU02n/SIj2KZlkYfs4w82n7O/R6wrlZG6yjbV2mQ7q3D6txeEkiwT9pxk499HMmsxHE57eivO6FRov20nJwxZLe3tKxhG5lIT7by+2kY8pg3et6SILZYFSFJmDjK6HLBfemp5hFLt84b2rx8ClGTrh21VI8diMRIb+nF7EAx5Je29G1ZTyeC2Z3EpDkzzY5ctj9ZKNFgim8NUDP5+URx7ZaPWKTLICvMhWi3Hce26rm/zYGVZ9gjG+BhC6Cv56h0XezANDw8fRwiRs71t9zYp/r2gMcl/XXKNyybIvqxYzknkJcZg8F/P7KxBHfEanS8N6m12uEkuwZIIYm9y1CJsDBkE8Uau5acvplb++oXMljAW5x4ebeb9v/X6IDEtWnrle55eeF41QFHvaUKiRFG9OZkwj/SEyFzEAwc9uJnswqnhWrLKKnrDLz018u1PPTLgkYSsE1Iig9QPfXmp5JJyP31KannorLd7et1Ev/zV5RESPgQBgH9/XU695rDoZZkNs3gl8d+8sR50yYsHMibEsyq3pZhBs2CKixq7xSve+dkBSZfIzIgREOJc27znGaQLiOG3pA6FCHGMIQtpX3/Rs2hvcjRibRFkzJS3vySt395nSZ4+zBgKKSxA3mzmI5GIVTCCXi9uBCjJ7uP9jcVizwEABnXeP6+KTSWZTndajjc5eg4AzEoNoXRDU0fBOFM5udK1tjhthYC0HThVUCNYHL96yjRN20ybd+oFFZrfmHdnH0Z5Uis6+23LAjU0NDQJISSOJORePR+NRl+y0xqHhobGIYTO7EobHiob/W3SIuSCNQRNgbFyKZdUGPx9PUqY2dRcbTIkHs4p34EtD1tL44EQy67WcZOTlsnLza1VpP3a1zfyCOe7bJJa15D2s88Wbpfbt4AGDP4qnloIuRnxJ09I2WoxGBN2wNZv3o57/j/svXd8LMd1JlpVHaYnYjDADHK8OeJipnFJSqJFyZJFSrSVxSSRDmvLsvVsr/Rsr9eyV6u3fpbDSrvSOu3az6RokcrJkkiRlkRTsslL9AC8vLw5IOeMydPdVe9Xjem5A2AyBsDgsvofUXcqnPqqMd+cqnO+s1FWk8JEHVv6A2spbsRCGaB5bZQ1ac4UJCmBqPR3x1OXo6F7DtmctKSeedxskvtW8lPt4ZETGInRzDUjkrRjuL4W8MZ/4/Rojc7ZstZURjhpWzcmIpBTY0YpxWJsNU+DMCeForaWknSVLYmFJiG53JSvOEYVfx0x08pEgJFsmcDtVLdiU3uKtYd+SXC8SLztB3OTZ0qUwupyz9TUt2Yld1MdyrjPoy7Mmp5A2gwCIflCjnu1GoGI726K0XzXzId+l5ue1WVZls2I37xLUxTlt2RZ/lxmo4GBgT/XNE09ffr0H2br3N/f//MQwrSnnMAAPDmevwD8O5tivbXCWvpJzNZyWeekoo7PzePPuSjBv/HNuZwBPRur3xTaT4cI+X98v7eHkiBa8xpLejbe25bSmR6pm1N+71Ik9PbDdie1IDMq+T3H7Z0P9Nhp3dWyvNlS7Cm3rSM8dAoQzNG3N+zsLujF2mNTJ6EWFeLWhqsa78irgZ3LJqrnTDB+vq+v783l2s367S0ESv/r3Fvr2/PW9vf3JyGEQjG/sotZLCVZhDjg6zyS90slRaLE5qqdddW3rCPaxYlrh5OJuP3Lk7ZzMQ2UVLUnn42NErbf7YsfpGQLIfxsIBD4WK72GZGbtEnJQgDBYDBGCJFuRITo8wvZ71+9ou5+W4PanSmcUMw+SPGZdlriLWX7uvJ0udaTT8lpY58/e7vnVJeb41JeKKFHy49/wNubeedKXdaRyZVYR5PLZv47JoQCu3G4TE+/4Cv0v8+EZp69Fhs3BTIyg7Q+928r138ynEjfmf/j+71+GlRNf4hFXPsKkljBySvcwPBKS6jIY4uM+hFWDUWrck0R1BWPJT7fRQh5qa+v77Zyx2H99g4CjGT3wF6lZAXT0cblmuwI3+gBhPCCZNXrmvflvU/KDIDaeC+7MjfeGgstN0wnuOTTM5aSdYQL2Z8vahdCqGma9h85jvt85jiF7mo3zqkoysMAgMcoQT+apWbs+5sTvXZeTwdRGXe2zn0D1sjYEQ4nrQTxyYi9I3WHSe9d14QXzBqqmfNlyzttcnG2//HzdYd/55/nL02t4mghknVJUFyNk+Q/fsDX6xBuBndlBiqZ3nDG3OTjn332ypnzE2EqPmHeU6ejjVNRx2Z76hWrGgYCD6lql/nPa7HHhMCPf2/x8tiKHjaPti/OqtofP7t09i0HrC0fPu2k1ZSypiYZalUIgYijsLdY6N2o1OeO8I1eQGhAHCzaLpNkNd45G7f6xsq1xTzd0DSt6/bbb09XLSp3PNavuhFgJFvd+2NYZ3ptW/kFTcdxhm8UFcykxqM1C5M3DE3WbPey5lHxo6M0n7G86kGFYH+kLerPdLqohCIP07VoN3UvlWTpAKk7b1knkDw+Zk0f5d7m0fcfcSSMezqMhBgiWCBYo/XRs5m9KSqasu0XRm3BD7bF/dQLXojp2jNXYqsYQ3K8UXCebBLFbCNlkvG7jtk7H+yx1eXTF95I3n/3Xm+vR4JobHY13up1SmZfU4giRbR0DYZ3vXHs1UiCfOyzz1xfCiUSn/2dnzvS3uRC2WrgZnqxdLDP/0Jdb6OTQ0NLePX3vj+fLjRPFahSkK3DKCY1jOuCo6RyioXel1I/N+9WI46OV9cKGhT3mAUktvq3aM5fzntbnKWsVbUgwEi2WnYijx0DAwP7McZX49bG6zSgRs0R1FFoKdlSeObHrvYiBImuY0QP9rCuwwzd4ayBTybJ0vnOh4SViAaTF0J8SUIVhWzN9bmACHqoNbYWvXuTKD5CCLm9nALa/f393RDC63NJfuV706JRAMD0pFWxdlJILjVn2rKYhPg709bBh9vifpTS313LM137U1IBh78/I1xZTsLI+1vifju3XsM5Yywyp/KrXkEzA5Nu5tGsD41OHecaFYwM9zIBYMICiJTUCHkoQwzCvKddWompP//xL7+S4b2SN/yHR407+IfvPeX9tXedMgLDKH6LK3Hy1X+5MPrr7wt0vHxlRv3onz9lpM2YBQRySD3SaGzygYxKPUaVHwzIA0/eFLL45M/W9hxrFHgIkaZx1hCnRWsos8cs3olqIdlSyNIWHT+F9ARHIJ+MODq2dIJjD103orHpAYksy2vF5NlzSyLASHYPbOvGKjTlBpNI0YkDvB53WV2eSE1986VMstwIQ77UndmRSyewrtFE+5vEQCDQAST/NFa6iECpW9AoEdvdvtgRShJ9fX3wxRdf7OR5fogQcn9fX9+XSxlPURSd3gH/cM5ytadG7a4XaSDM+mckhhI/npOyprf8rDdx/IdzlvRnP+dNnGy26kKG60bcze1XEBS0ZDzkTIRDtWoiZuQGY4DI0zOWG7MJuJwl6jpvqTfzh8C5qWTyUz9aNr7w/+493l6PFSLTc/3Uh+/qeJPcWZ/hgJtmGf+bVHX85o88PkilHjUdg7s+/IX0XeN73nS47WMP3e771A+XLp+bVtNBXl+6v6GH4wj/q99YOLcc09P38RuPu4/4BPen3lq7j9qVSWT2yMjJuFg3UwUkaxyfl0KyphcbsbW/Qjhhy4XaRW3FJ8bm2xBC1/1+v3lyVMrry9ruAQQYye6BTVIU5UsAgA+kSI16JPQLwnBGqJxSXPINabwjq0iDuTxHZPgkwDqVvIOSyxNOhlftGGtGUHC+NJ1C8CxNXD2USCTsJuE+O2cZmYhx84X6beXzjDvbdMDTU089ZbnnnnuKPvaj85vVjxIYxZ8cl84/0h4NUEBUALWRKB/fb9Ptzy/w0zci/GQx9jZLev1bvckOmkPLWyzR+pYDmwQttGTcMT9+7dD68RB5dFQa8Flwzdsb4vtplPZjY9aCwTUmDj+6ngj/zYsrlz/1Nu/xI/XQ8vzg6MJ//qsfDX//fz5wMp7U+Bq7FVjE/CHIyaRO3vwbj6cjzk2N5Y98c/HsfFRL5xTnioI2U4n+5Vp09u/OhMe+eL/PL3JrP8KqmWRVyTuXKKHOLD0NorWUI/b2onOK87079sjoMYhVquH8B7Isf7qY94y12VsIMJLdW/tlWBsMBqlQv5eQmxVNjA8Q0jEU4lFb6yVbZPwQJKo1Zmu9IMVmOhFOGN4TLUMHEQeoHjH9/+WKTWSDzfSMKx11nDlXpvQhhPC5QCDwpnK3sL+//xUIIU0lMrxGk2TPrgjjgytCSXeG72tO9DpSgVJUbKOh61jWdJ3lmdHjsciq+ON56epoFIVMDzab3JVOIHi8ANk+0h7rhYCgmbBOPvrthYEvPegNcIbYP8AIAfQ/v/TSHD0Ozqwf+6E//tbllXAi+Z3P3GekUdETgeVQnDz1wo3VB37uaE0uBSgz91XHgNyfcSz8Z/d4TnV7eOME4O/7Q0M/uBJbzMzf3aiGFbf4pjTRWdQPl3L3tnA/jByhIePaoZA364gM+0FKdY22j9laL+mcJat6WOF5N7egqUQE6xw9lSmnP+tT3QiwTa3u/Slo3eDg4Os0TftXCOGmWpYbg1scnqZZjJPW6PKCQbhUMlGyObJWkCk4cZYGsZWFupWFqc6kjsgTBXR/yxmf9tlwrLpJvKLUcRVFoV+WVGuWrKpQdQnELD5v8A8l33xjHnRqLa+rTdLIWqN9oVMBM2rbLD5wwqXVB9xJU9+Y/PO0dPH19Vqbh9cdVPyhGK/WxOTD31g498m3uI81ubh0aHBC1YlFSMlHpGw072d/9DcPnxIFlEtPGr8/pRplrn9jwNP/+7a6ngP1XPq9o3fTz16Lhd+8z2pP6SIbvx0yI3gNT7CEiN5S97OU9mvKXARF7e2XMBKykqY9NnEKanEOQIhp7nfC0nRd46WK/c2Y9qbU2PRAIMBq0payiXugLSPZPbBJpZj48ssvH9N1/b/quv48AOB5hFCmR0U4XkjqmpoW07c63XM13tay0xE22mZ6sy8ti3MXVrcnGGoD0Q7LstxVCkbZ2mbee2uCK8ppIZtZzsxgz1SQ1XySC3932pLW5L27Id6mN/hdAAAgAElEQVTTaDGK2hckWDrORpKl/9YsYcdkHG0StzCPg/99UZy+EuYn8q3RbGsWXi+ARzoQymxnBknlKnMnt1icv39XzUEa8GToHadUo2j/BADak6O2sydqNG+3Va2rEYiNRtE9OmodNO0yvUUzfSUpuEOqpfaGoIZak7xjEiCuYvnWxb4Lpi35PFl76EYArhXrKHh8X+y82drxeqhGis7uhxDGA4GAdStjsb7VhQAj2eraj4pboygKPVp+CgDwSEagEvUwaOBGptdmzJ3vqLMY45ZnRzvi4VVDiIFO8thofiWlYsbM1ibjXhYjhN6AMf73FBl+tq+vL6eIRa75TGUtnbcvxqyNQ7SdLTrZg0CSA/pagQbzMb1QJ4/t722OG8pUNlfdtKu+KS8R0nY305+Kw8Vc57KK9G9NSetym6nXTUvz0XE3Bk6Z1Y8yc1d/SXYeuOeg5KLHwTom+I2/9pjxA8y8f52KYP23vjVvzHFbq1Dz8Z/xdEO4diXxn55eOv/pu2uNMnkZT0FPfyPJ0r4bSsYZwxFexFHBd43wlop7ibn23L56jcpf5iVQs9hDORrMpb7b5v0sQuhRv9//S6X2Z+2rEwFGstW5L9tilaIo/wdC+EuZR1KKomiEEKoetL4iC4TEVd8wYnPWL5RqjFkcoNySZYXm20AomXKMtGtUlmUaiFXyoygKTeHZBxCnhe2dm0q1mWIEWQYuyoulUcULE9epolVBcjLnEHmIHmgKp9WczBSiuxvUfY0W1X1TQxnAiM7hr05YBjvt2PvGung71Sq+b0NtWPOu1IxAfuJP3nOkvcFlHJen5sz1nUBuLGnh7lreuGowa+8WAtkovpDleFiKz3QiGuHMO+al2MwBU1N5uz3GTHsdoev0ThYlxdqlpMWTtXiDNTZ1ktOiFVNcK4SXI3zDT/VJY7GY784775wr1J59Xv0IMJKt/j3acQtpWgutf0aPBRFCuq/zaEnVRkr11kpZoN+tNpx0qa2pPtnihf4rAID+cOjs6+v7D6WMTduax8a5vuztkRG/UXoQQQIwrcWdO8hp49wmLs/MSpezHQ/ns/WDbVE/DwEcj3OJf5m1vLpRFSukc/jrE5b01QD9fHgJh373+/NXDnnFmlBCVz99d+0Rq7B2XZshUBHI9qNhfBXjv3x+9cr/uNd9hH5uilLU2Tjhb99dd5L+20SMSz47l1/xq9gar8Uc3Za6l4XaFzOnWd5uh8mfZg/QeIOc9ZcLrY19Xj0IMJKtnr2oOksURRkBAFDhAmJz1c266puKqgS0nSRLQXqwJX5C5NbK5hmSfQBh81hzI4jlKOqsFYEHYtjZnTXoybyno3OVEp1NcdEJwI+P2XIWCsj1Ephk9Y0p68VVFUYpiWoEZc1Lfqgt4RegDn/t63Nnl+JEy1BeMocn7/29r577+p+/3yBL89l4H/vk/V4/z0G48d/ffdzufbDHbghamEfn2ewWIEQPtUV6CaSSivnLyJlHyDtMZms/MLLoF9sjw2s/poy6dJwWcWw+2diuP9hUtR4qghKWZdmst7xd07FxtxkBRrLbDPBeH76/v5/Wvkwvo5DnpmkJcX706oliomK3is2H2qJ+DmYKYqxJBRJCVAghRwjBfX19VDSj5Id6tKl8SFqbdt1j1hQthEVmJ7M+bz5SymdkNj3nXBi/xRs/0WrFYlIn+KEvzQ3+6m3Og2/dJzmNu1idYI6DmcLEtHYSnI9i8pFvzq/7UfHlB70BWlAgWzDUX727/pjPhqRVncPfyPCgM9dQrBdL+6S9SnpMj7h0Xm7JG1dkByqKAbEmUIKlJxKYl/SotcU4sbFGJno4HDeC2aL2jlcx4nc8KMsSn2sV1JAPITjt9/vXqY4VuUTWrEoQYCRbJRtR7WYoivJ7AIA/S9mZ8w5yaWakKxEJeeZVTvvulGXTvWal1vlQa6xHSNWCBQB8AiE07/f7/65S4/f39/8yhPAfdN6xGLM2GIFQ5kO9HECo85y/qD0VniAY87qqWpfnxppp7VkacVuOjcbdJqG1Xo2a7BCANQGLbGNxEKIPtUWMHFBKkBk5q+n761ACk1/+2vzAkw/6emk9AHoe8IEvzq6LoP3Em+uO9TRx0pWFZOgPn15eVzvVHDPfj4Zc97G51r9T3iyvRmqk+PR+gDgStncOZA3EAhBEiih/V85eFtvHLMWHEPqK3++/r9h+rF11IcBItrr2o+qtURSFKkvVcLyQ8LYf2qR6E1mZ9YYWZo2jxCcnbGcTOqi4V/KBltgJG5fOZ91yrmwu0BVFoWk19mxHmJBg3h4e6smXujN943zgZjxR/qPVfBv/dl/igE/SXSsqxN+cKkzSptd7YUZd+S//snTtM+/wnGpzr4lFmMRr/reZ+0or7PzW62v2f+KZ5VcSGjaL2wOTTDd6s2v9citT3VmXbNtn13yq1Teb4J1jnBZ3EYQwDa/CnJi1Fq+UmGnnk2EvQTyJ2Dvy5idv5Q8lG5nTqjwEU/1umppsaBNXRNFpK3bSvqyQwFYR3P3+jGR3fw/2nAX9/f2fgxD+X9TwjXeSGGM0O3zB8KJeWRWXB5b565VeYEZ0cVqLV5bl9BFopeYbGBj4a4zxR2JS82VdsG4ihkwPSBQtUU/rTRnF5ZmxY/HIihTS+dhkDKz2L1kmNULS5JXPxkfaIkZqycan0FGziye29zTH1gUq0TH+4X31fpdlTVbxL55fHX1pLJ6OWqVkiTEgCK0du2+suvOnd9f17K/j+B9fj83+9YuhdD51IU/WVOaiP1DssdFeqKk3j6g5AUds7Vk9evPYOOLoOE8gH6/UXprjmHsWtbdfxEiIVnr8So8nJJfrLImFTgBhWA4E2P1spQHegfEYye4AyLfaFMFg8KeEkNdn8+Kmrp8zCGIszsd/OCtuus/cKhY/35g4VCdSNSRA74qXCCEeOiZCSPP7/WXdv+azySwgkDPaOHwjQI+NfZ2HziIkpL32bKITxaw9LbNIb0pTDwa0FF/hwgvvb0n02jmd1h7E96XUmh485dz37mNWmupjPEagGMy4yF5vlHGcvBjF5MMZ97N3dkmNv3G7s+Xxwejw9y9FjJQuU2IxF/Fnyl+aUycw0CwICOYxbTY8LImFZiG53FRKMfVicKVtTALXkT0ZszduqYpOsXNupR2vhd1SbMYospBKsUrKskx1jtmzhxBgJLuHNqtaTFUUheYUGipLgmRbrWvuTtcQrWRk8evqki3jERQejfMrdK7M4B8I4eOBQOBhSoJUw3m7dF+DweCvEUL+Lm5tvqLx1rRQgpBY6rIkFw2C3/hjgxDMzwxdMI6SC8kyZu7pQ63xUwLCXDGaxdnehbc0Jo+1ipqkYYAfeHLW8BT/z3vr/W4JQU3DRsBTpi6xKU4yPLES/eB/+aZRzIAKU1Ae/sAT6+9nP3DS3n3vYZvrj55ZujSyrBke5qMf8B2/HhNjuU4rPtgWO0UD0zAg8PFR20CLhB1v9cUPFZJVTHuz9o4LBPGxirz3msY7YiM9hBNxxNZW1r14RewoYRDT604F8xk9IYSTgUCgxRymv7//z/r6+n6/hGFZ0x1GgJHsDgN+q0z3k5/8pNZms81TgqNRtqJkCyViEaPQ+blVYSW4LBi1Wct9Mj2hoSg3H9ZQ/IRLbeU47jd0Xb9PluW7yh27lH6KoixRmeeovf0cRkLSUIEiCRq5bAQ+cYIY97YdXOexz41e9tMCDPmOd3+hKXaqlifcV6Zs52IaMFWbjJSSQsfC+ex/Z2P8lFvE3KVZbfWPn100fvyYlXPMHwTGrwJqvxFEBcDSakx1OSThHb/95MtPf/5B+uMAJTEgP74eC//9S6F0wNPvvKHm0BGfyH/4G3PGen92n7X2w7c7u78xIV0K6agowfy7GxL7Gy16TdTWcg1zkvHjKdtTaY3jnQqqKuXdKtTW/LFhXsnMDJ3vNf/eMMbvhxB+PTXGD2RZvrvQeOzz3UGAkezu4H7LzKooCg0QScvtzSZ49fszolH4u9znobboKQECGqhDSeLA2jhrRcsRQhN+v98Uoyh3iqL6ZRYPMGX1NkSiZo2yXp4eOR6Phqg+dFZP9ohTa7+tNuk1jZhJctpCkosedSSNAu5bIVna/+G2aIDewH73YmTqsYHI5JMPeHt5dDNtp6jFpxotxTD5tW/cTO359D2e4wICKg2Uok0+fY9nv81msfxg1lL01cDbfIn9DXbeFrW15nxPzMjaShwbm3uWEN2rqqUufepSCg472VaKT3fwasSQJuV5gdS3H0oHgc2PXT2qqYl12sYIob/2+/2/uZM2srmKR4CRbPFYsZY5EFAU5V8BAD9TCYKgY6SOhdNRw6auMP2MELKvr68vqwReJTdoYGDgBsaYHomTTN1aw8MiBDTtO5FTMH5h4sYpNRHl6N3oF0Y3C0+Yx94jUX6+3arWbwxyWkpC/O3pwlHEudb7YFvcL0Ka5gPI+784a3xB00ClBEHkySx3uzRg6nANbu6WNJeF09Pi/3SdGBNw35Nz6bW6RCj+5b11x0aWtJU/+fGysQ9ffKDhlLIszBUqYpBp7wNtiWNItCUTkm8T6fFaxGlJLrQBQiwJsW5aExxT5e6tIzJ0CmDMYaqNbN0bx8TOyJCfYAxtjpqYy9d2Idval6ZG9mFdFZOJmG27rkrKxZz1W48AI1n2RlQEAUVRFgEAtVv1wjJI1rArU7FJUZTDsixfqojBBQZJEfs6gqVdHNFhPy0Y0NB1bMA8bs02lHk3vdGbfaQtFqCntOdX+cn+ZdEgj/tbYieSBOIfzFquvr85VraQxzuaEj31PObp+Jn3qmaQUhwj8qXxzQFUPCT8Q22Jk9DIvzUfmjqLoU4IuP+JmyRLPz3eKHr+6M3urqcuRycfDYanfrnP1fym/daGL40X/8OgzkKkexviRxOSd1oTbtaWtUan9nF6zK2KzpWExbulKwd7dPQY1FWpEt7wTrxz5hz0hxzHccTbcSRvGlN4ec4XXpxpQwi1+P3+Xa7Pu5MI7a25GMnurf2qWmtfeOEFjyAIC7QU2mMFarAWWkSPS/WdqtFaqFRiObKIhcYv9LnpOUftbecxEjelkdAvQVGyhjzN+9YJNGwc11R5yqiIk26S68fIg23RUyIEHO3zzSnp4qoGi0ozqbUA+zsbokZFoPkwjn3k2/MXTHI1J70U4kMvLonrbG6W9Lqf8yU6U23I1TA/f9Cpe13e1tGV2Yk2SrRnp5PJ//bD5XXRuG87aG192O/w/dULoev/PhJf+dv3eI8sYUH76YJY9HHsbR61+bBTb4zY2l8VtVW3oK42EsiRhOQd1ZEl531tof3LJKu9RrDGD7mU9y1KNs3T3J1X0GV2+EIPxnhRluWGYnFh7XYWAUayO4v3LT1bf39/AkIoPj5mG9BJuqpLSWt+T1P8iEvA9M7JeDd3mmTNAgGaxT4fFxupdvO6B2JNskdGjhXSLNbVhH1u7KpBeiaBGQXMASDBFWHs1RUhZ4WVm3KRuVWdMo36YFvcz68dD6clEM08VkrW/zonjg/HuZlsG2H2fWpGvDST4CN31CVbDzuJr6HzyEAsvFyzPDu+nw4cVzH4ByU09bP7bN4/enbJ+OL/Rb/jwF37rbaPfmvxXJubkz75FveRZ+ekoak4oqcaRT3vakoccFsAVcZCqsUznxTdmzAvaqAsjYy72Cy6xOWOt5P9zKAnUbJrnuaunES7ujDVEl1ZaNQ07UO33377P+2kjWyu4hBgJFscTqxVkQhQL3AxgaLfmZGMlJBSnswSdvQ+0O12SwcOHEiUMsZW2w4MDKgYYz5XXizCqt0WGT0sCEKsru1Q1vsyakPGcTH4yaLl2vUwV5JnZmKR7/jdymHpvpZ4OujMVGUyo4mXNaR/a3J9DdpMfNwicbyrMXaI/tv3Zy0XZ+Nc9J6GxP7OOgdf42tLH8vHQnN1K3MzprcLlmOY/GoqGOr331hztKtOgL/+jfnzf/im2u52r8X+nSmp6BxU83464ug6SyCqqDrYXiZZuidm8JfN4112uRtyirrMjFw6QXSNk2WZ6i2zp8oQYCRbZRuy180xCwqUcjfbadNq7qpP7k+tfUKW5R2JHs6FNf2hgDlLOGprNSJoNz5mIe/G7uM578xMkv3BjHR5KoGyygjm2+t6484ydiyiI/LViexCFB9sS/h5qK+rkmMeEUd1RL6So58578NtsQCt2JdZeu/hzuTJOl/TrMVWM51p38Lk0IG65q6r6VrBa5oWxt3vTFjXwkkS+YOnF689dp/v5KWIuPrKCj9czLtskOw2eJtp4QnBEY9JDXkjnzdGjKfszvhuNA4gIEFcMmLvLPoHRDHrz9bGGp3u5vRIbUqAggpWg8auYzkD7cwfdVScJRAImLnb5U7P+lUYAUayFQb0tT7cyy+//HpN035KcSiGaE+51MZTbtVIrkcIXfL7/YYs4G49wWDQKGKftDYMJXlH1mNPs8ZoviPjaGipdXVuwrgnKwaHjev9+cb4oToRO2aTnPr9aUvWVBcziCpTVzijGAAwa89mjn3KrXafdGq1lFzpgwkgXxizGT8WGi2a/e6G5OFCR+GzwxdOYYxpipUha6lhAhIaIWen1IUbi2r0gV5n29cmra+a+b/59nI7SFZQw7WW+Ex3PmUp0yaTYDmOJ7qu0dxhQxWLE0RCsA4xlXFO/6Aw69oDem88ogouQ/2q0k86fSlj4EJ7ElqcaYwsz7WslYFekwuDEMYCgYCt0vax8UpDgJFsaXix1kUgcPbsWbuqquFigqDM40JVVW133HFHZdR9irAxV5PMdCGdty/FrI2b0oU4Leaxxia7bC7PtKu+eSLbWFtVvjKPi0M6F/v6hGXTsbRTANb3NkWPZqbpUDsya8dSL3MyycfrBWzRCQBWWnY34y8+iaH+xLjVKO9Gn3c2xo/USdDq68wf1Zq5XiqQgAlBf/VCaOI373C2fOlsZPTOLmutLojcj+fEglcGRqUeTtIitpaKVGyiQv+AEEMnuVBtWik208lr4TrR5kx6GjsKeqir89MHYqEFI5d5TZ6S0yO2tvMEceoWXrlNXe2RkeMQaxZelLCWjCNfx+GziOMLHqVribi0MHXjMMn4AZT6IRSFEH6CEPKr9HpdlmVD9OTFF188cPvttxcdqFbJNb6WxmIk+1ra7R1c65kzZ97HcdyX6VdRrmhjCwe4B1qipxBCf+n3+393B83LOdXAwMA3McZ9AIBmQr9EcxTrNj2gbB7G6sL0wejKvDOBucST45as1VxyFAEwCx6ssy+qg8TlVXHmbIhPB0s93B73I4Dhh785f3Yxitd9Aae82axjYQK1L4xZsxJaX63W1FOH6upb9xddgWZ5dqwzFlqpozKM7zpm73jfcbvnMz9dvvq7P+M++G+LlsmhKLfu2Hkj8I+0x3pp3b6ItfkK4aW0bGU574I9Mn4Y4oTdOH62dpwDCOUlP2d4qJcKTfoKpMpksyWyPNsVWpxddzSLOSkUtbXkjTgvZl3W6MR+To/X1Lftv8wLUslXDeYcKYUo+h2/8XtepwdHG/59WZZlekTNngojwEi2woCy4W4iEAwG/zsh5GP02/6xUdumO6WH22OnECA0YKNq3sNgMDhFCGlMrYJWgSdhR/cmrVtHbLQXaKpRGo3mzG7cd+rJzmjc8lOTlqwBK5uLsBvaEYDQ7z6ISFJ0LyCsWQR1OVvllXT1of/89NLFqwtqjNaFpTrBtAA7tWU8ipZabdidxEh/Ylwqykv016qN/jrkrW89UNCrM9c7O3LpJNY14VsXostfHAxf/8jtzgNyq0UanEiuBNptnq/lCbwyxzCx2EqJu8x71UIeLJ3XFhk7hHDSARECDZ1H89535vubXpoaPqnrKoc1lapsgpjkuyrFZ/cBgrm1snkQR6TmyxxRBSk2Y6iXqYJ7OiHVpU5AMHKER09gyKlRe9uFdA1Znie+9sMVK/cXCc/XqdG4Q0tE7bqmStQTR4jT6duCdZ0e/cNq+ju8lb5Hq+bL7VYCla3lJgJUwBxC+Hs6gPrjozePJmkL80i0mv64BwcH79F1/bsIIR1jbFT1wUiKRO0tm0QwzLtZq8s9W1Pfmi4DR/uYObK57mONY9INdVM5LeHSecvqxvdHis0cUwXntDUx0wHwWqoOFdk3vtUzHpJyWOBa9lRJxQloh7f5EvtabKCmlOPiZCxmW5y6nr5HT+gEqJgQDkCSxEAdT4qJ/iWh4JHkAy2xExaOiDqS9Ji9JX2EXczfUjrIiXckYtaGvF44xBpvj4xQfWbDkXPV+RZsNd6igrTy2ZJZO5ieyQsWm0Z/NKmJmBHxS0ktU+ifIDEGcZJW1Nn0HYw4nvg6shPs/Pi1QwTrHOR47HB7JyW7K/2+LExcP1jXkj93O9saFiauHVETcVs1/R0Ws+97pQ0j2b2yU3vYTvOeM5NwvBKxvcMXO4IQOuf3+09W6/IURfkLAMDHMbJEovbN0cYpdR7V23FkXXDS9ND5AA29zUeyxQTm5MUF67ykrnRzetwasTWnvVVHZNgPsJ63QEG2cXvcmrevHjXVt+4vWXs6urroWZ2fpGk+6e8UHRPAIQgGV4SlsytCQSlMMz8YcyKOFlkpxxG60Us1rQHiSThPoXdrZPwQIpoIiS7StRcKJCr1fVTVhD2yON1lsbmWrM7adff0yzMjxwFAxN3Qdl5T4875sWsHeUHUNVXlJIcz7va1n1+aHjmeiIUtrrrmKZurNqt60+LUjQPJWNQGIRwihOynnrK348jZ2OqShxMticjidGtd6/6C9+DZ1jYzdN5PA6X8fr+91LWz9vkRYCTL3pBtR8AUeMgknPtb4yckhEUIYTwQCKwTPN92g0qcIGU/DaTZdHy3dkwJ9cbuY+u8r/nxq71aMoHykiyAIOzsLvuoMtcyLLH5Q4K24ig1qvlEjea9zVseyW60xUz1of+uEQD+aWzzdUE2+83qSxFH+wUChbyBcLbI6BGEVVshUjY9XdOTrKlvnbS63GXrIZf4+lSk+dzYlSO6qlohBMs0TeeFF16wiqI4SAihec7G9YHF5lgGEOFkLOKi3q7dXT/p9DTmvRPPNG6GRo3rOse0kCuyZelBGMlWFk82WhYETJJ9fNw2oOO1s8yNRQCqGTjT/pit5ZLOSetKujlCNwJr33FgXUUe87g4hlHCirD4zKx0ZTKOwve3xk9KaO0YOm5tGNN4x2yl126LjvUiPZmT4HPNd5ySbD1s9rYdKOoON9c4Zkm2NTlJ6s8T+IVRW3D94fb63nKttn+/XXVZkHHoDSOO7rMEwrwRtWJisVFMLrVgzqpFMzz5zJHtoeETEOiiw+NdcrgbCnrTld6LSoxHU3KopwkAoMIsL8mybBTjoM/AwMCHNE27yPP8f8QYPwghpCloNICsVrI7l9wNHUWv2UwDSpH2ZVmWdzWdrhLYVcMYjGSrYRducRvOnDnzLo7jvplaJklgpFnWiCZdaaeaIRgYGOjAGBv3djpvXYlZm28K12Odd8TGTtLj2UJriOswaVnz3sFWgnwKzWOSrHkvW2fRpXt9iaOPjdkG3tEYP/j8vGU4pEGjhm3mc9ypem/3web6toNbIlka9EUJ9rExa/CBlvhJC4eF709brs8mueVstt9Rmzx00Kk5qLbF2nFzcR6+mFxsEBNLrTpvU2PWpk1H3GJy2SsmFtppDqw3xx1nISyr4fOF8atHNDUpBQIBGqCU81EU5bQsyy/RBsFgENP993UefTlfIYtsg82PXTmmqUkLhDBR7adM1bA/hWwo+MVQaAD2OUOgGAT6+/t7AQDPQQiNPMPU8zlZln+7mP7V0CYYDD4BALiPAEjC9s6zNPKY2pWObEWIAEyFAFI+G0KGMEBC8k1KsZnm9Bo4joRtnRWLHE2Pi3XeHh3pyQyIMgNuMvGbTgrLT08Lm6Kejzm1+jt8sKV+C55sMh62LU4OH5lOIO3pGemsV8TWdzTGj2oEkfnkmmf603nxiksktsnYmsYxrX9Lc6qp5nXArTaccKmtNHc2LDWdgwhRssj6mMfA66KJMUaGwH7G3XCl7193+l1MnQwAURQ7Tp48OV7M/IqivAAAuB1AiBu7jm2Kjs82xtLMaJcaj9g53qISiKEWj9sRQq/z+/10LPaUiQAj2TKBY93KQyAYDFJt4IG+vr7byhthd3s999xzksPhfAUAsl/nHUsIx2oh1qEquicTlrqc93zW+MwxTg1vS9k1qqdsSSx0c1rECOoxa+Cmj7IRR38UDNgio36EVXg+JEz2LwmbbK0EyZp3sU9O2M4mdGCQ6gfbYqc4SLiNXzaZx8eZKV7vaIof9ArYSXmSHh5HnF1Z762N2r7G52v32ukgKAAAxwuE4wW9tqnzPKywJvJOv4ELY1ePqqlC7aVEAPf3938eQvhR853wNHVdFq32ddcdmWtJkbmOEJrGGLdRgoYAqIFAgEZBs6dMBBjJlgkc61YeAmadVlmWDVWevfooikL1cKnikvEUk5u5XWu1RUb8CGvG33IhOygxzSS41admLJvSao66tLrXeWFrqZ5sNDxXBzEkK/PTRnTxkgr1b0+tT9cy137MpdUfdmgNUQ0m6yzElsRA/8qElDXt5gMtsRM2joiUbDXemkhY6q8RJKRLD24sAED/f770l+3CfyfGNaUsSyFZapeiKH8JAPgYzUSjvz18nYdfRoinYhSbntmRiz1Y15OyLNuDweCrhJBj9I43EAgYMQTsKQ8BRrLl4cZ6lYmAoigRCKESCATeWOYQVdNNUZTnAQB3mp4jp8ccluRSE9LiDvO4EnNiTOWdc6pYM79dhjsiQ36aPxuzNl7WeXtehaA17y97zd/DTq3u9V7Q5m0/WFSeamYEsbk2nUDw+Ji1YhHT9JfYg+3xHh7gdIUZ8w725jE9RxJC7bAlMd9lc3tXXZ6Ggnm527UX2zVuCm0yw2kAACAASURBVGtdluWyCC8YDC4QQjz5js4pkRNC9EAgYKHrCAaDn5Yk6c+PHTtWdOnC7Vr/Xh6Xkexe3j1m+64joCjKOwEA38o0JBXhmYQQWuiXFgBAJBAlqZIdJJqQLRWolIU4IiN+qg2VsDZdlyLjZvUiUmhcMyCKAIAfG7Vtuqc74tQ9r/OS9mJI1tRmpgFOz8yJw3fVax1LSag9PSuWnGNb7Np73XpjjytB77ah6bGb97KaWBPhkyv2vR7klAuLuZHLx3VdNciPEPJEX1/fQ8XilvJovwEAeLezvnEEIUGV7M4QhOvvuymRQwh/civ8AC4Fm+1uy0h2uxFm49/yCCiK8i8AgDdyHPeF3t7eX9m44FdeeaU2mUx+HkD4C4AQJ0D8CsC6iyA+nhTdM6VUc9lQls2YigrUR+ydeclNis8e5dWQkY+cK3/2sFPzvN4L8pKsrieFuZErJyjRRXUOf2XCUlRQTSVfgrQMIyfgiK3trHEXawSdYVjb0D5msbsqnhZVSfvLHYtGGavJhFFVR1XVujvuuKMkDzMYDMYJIQZR00cQpWiNt3UotDTTUtvYcZ3+cIIQfj4QCPxWuTayfpsRYCTL3gqGwA4joCjKXQCApwEAqxBCQ2SeFlIgkFMxskSzVf6hbagHC7AGNcE+H5caRxyR0WNhe3veWqmZS3NEh/1AX0s1uhDip15aEtcpC91Zl2g74ATebLKKKc81XXSAAEQeG81e53a74fSJuu1tjcmDHCBrKS0pgqX/udcjifNhl4xHbcnIiju8stAEALgmy7KhhVzKQ4OhEEIfIYRQ3W3qFac5AEIUCQT89KqDPRVEgJFsBcFkQzEEykGgv7//jRDCzwAAaJrT2t8k4mIQEBFDhBOib0jjrSFbbOoE0qIiDf6JlECumTZxeqzWGp3spv/2xKR9MKmRdIrMEScNfFp/J2seC5tjUJZ9bk4aHYmhdEWgctZcqT4bCy3cSiRLSVWNRxyJWBio8ZgHQrCIMf4RAOBNuq6//rbbbisqnScX1gMDA/8LY/yz9N0jhFyUZdmoA82eyiLASLayeLLRGAJbRuCVV145lEgkPooQ+iVCCNWqzfA4EL1STd9JljuZeeysA4AfT93PbkzhWZi+sV+NRmvW9Kwg+OKEbVDDN0m53Lkr3c+UYqRpO972Q5XPP660wXnG07WkuDg10oa1pA0gNEoIeQ5g/GOE0HN+vz+rpvEOmsemKgMBRrJlgMa6MAR2GgFFUX5ICOmDEBql74xzW4h0ApAWcXQUXf81024zjzZJoPbEmPXsB1tjJ3hEU2bWJCKnb7xKPeuS5Rl3Ghs6H/VoEceRcmrD7oa9ueakJDs/drWVps/Isryn9JWrCcdqsoWRbDXtBrOFIVAEAoqi0MAeb2ZTgvhExF462W4MpFrTG075rgjpBGO+1EIDRSyh4k0eaYvQoJ09fye7RrLX6wKB3paKg8QG3BUEGMnuCuxsUobA1hFQFOU5ANBBADANhAGa4JiPSw0jpY4saGGfJTbTRvtFdA5bEUYIGvVPMQ2QeWlZnLmwym/p/q9Um0ptb9Ym3ut3soxkS9356m/PSLb694hZyBAoiIASDC4AQjyYs4SittYrBTtsaGCNzxzl1LCR4hPXIZY4klbk2gueLCVZCCFs6DpWMSGMUjGsRHtGspVAsbrGYCRbXfvBrGEIlIXAyy+/7NY0bYnqzYYd3WXlrnJapM4aM6QRgQYQ4QCGT82I12cTfNbqOWUZWoFO9zbEaA1V8N0Z62VzuEfaowH6Zeb0+Bbtbt9QBabZlSEMkh2/1hjw+327YgCbtOIIMJKtOKRsQIbA7iCQ0oUuqF+czzqkx9226OQ+Glp1dpWbGFy2pIt+t1mxcyyGaK3SqnxuheAnSrIL49eb/f7e+qoEmRlVMgKMZEuGjHVgCFQfAoqifJHK/FLLwo7uATN6qVxLDY1jAsirYWHyhFNdF4RTrcfHD7bGT4oIC3XN+64IkrVqfwzk2xNGsuW+sdXbj5Fs9e4Ns4whUDQC/f39VCuZiscb2T2q4JzTBNeCzkk5S5vlG3xj1DHm7EmVk8KW5ILnWoSf++mCOFq0cTvY0PBmEUeyqVZlMwNjXQwvTO0TJeey5KzZ9ZQZRrI7+LLs0FSMZHcIaDYNQ2AnEHjqqacsXq83XQ4OQE6jGlIaJy1TKcZSbCAEc/bIeA/l7aijwxB5WPNwCXhszF6VAUYPt0f9yEghRsDq8Ky66hvzVuTJVLRCCBFf59FdFbNgJFvKG7o32jKS3Rv7xKxkCBSNQDAYDBFC7KZEI4SQmAXSdc62nEsbuZgJzLJ6X5uwvRLWgVpMn51u83Bb1I/gmjwlzZ3NFXFsEqzN6ZqJhlZpoBHcbaJlJLvTb8v2z8dIdvsxZjMwBHYFgTNnztzJcdzzCKHf9/v9fx4MBs8BAI5gAhMAcShib70IwPpyZ4UMdcTGeoGWNNN7yKOjtl31/HLZm6lpTInW7W0fszic6eo8S5PDPYl4mNaoxY3dx41o7LmRSyd1XRNoe06UcH3LvrKitAthmO9zRrJbQa86+zKSrc59YVYxBLYNgWAw+P/RICkCgCGhqPKu2YRUP1HshJwW9knx2bY1/xhiKmz8kwXxxvVIdaT6mARrd3kiBOBIdHU5lQ5Dv+5Mn35ttRvFK2jhcowx/RFB024Bb7Hqdc3dRRWxLxY/RrKVQGrvjMFIdu/sFbOUIVBRBILB4OMAwncSjGl5M+O7IGH1Dam8s4g6pQQZdVxTT7Xc097fEj8pcVhwe9smzUCm0PJUQ2RxodU0lf6v09syZHfWLuUCNEW2a6X0drCEHvNkK/qKV8VgjGSrYhuYEQyB3UVAUZRrAAAqz0ir/mANSasxW/P1QlaZUchjMX7xh3PirotAmF5sJeUVzbtbWuWHYN2oiER/VGwH+SZjUfvyzHCz3++vKYQ9+3xvIMBIdm/sE7OSIbAjCAwMDHRgjGlB+cN0wqTFM5YUa9N3mRuNWCNZpD86Ku3YkWouIMySd3ZP46LTXV8xwqfHx7PDF9Jee8aZM6x05Z+U4lNLwO+v25ENZ5NsOwKMZLcdYjYBQ2BvIqAoylkI4XHqtEXt7ecx4pOZK7FFJ3qQHue/OmE9F9Hhus92Y8Xb4cXmW8fsyMUerOu8aLHqnpZ9FfmRkToubvH7exnJ7sZLtA1zMpLdBlDZkAyBWwWBwcHBPl3Xf0RTZI30H1tT+ghZTC7uFxNLNbMqt/z9KUvBo+XtxoSSrFRbt+qubcqbG1tJO9JHyRxPvB2HtxxprRmyitdaA36/p5J2srF2DwFGsruHPZuZIbBnEAgGg1OEkEbMWSJRW+slariQCDVbkrNNER0lvjohlVU4vlIA7LQXm2n39I1X/UaOLccRp6dpxup0Fx2pvXH9uqYK82NX2wMBf22lsGHj7C4CjGR3F382O0NgzyAQDAZ/GwDwpwQiPmzvfMUeGz8FtYQRgbubesb3tcROWDkicrxIvO0Ht+xNlrMh65Wjipd1zEqy41fbA35GsuXsQzX2YSRbjbvCbGIIVDECwYGBaQKghxAsmFpSER3GvzphPb/TZt8UnYCgsXv3a8nODJ3vpYXuaY6taHUknPVN13hevClzWQAg6skujF/r8Pt73TuNJZtvexBgJLs9uLJRGQK3NALBYHCGEEJFHgxFitRisypAnajRvB4B2/51XixJO7kQgLfXJlsOO7VGyeZMuBs7dvW4OtNWk2jNf6v1tY9bHK6ZQuuhnxskO3Gtw9/LSLYYvPZCG0aye2GXmI0MgSpEIBgMDhFCjCLvFptTTURDRhWgTKnFtzUku5ssmnm/WFEZxl9sjxp3oZXMia0kzCvTI92xaKhWtEi6p2V/UdHHa57s1U6WJ1vJndjdsRjJ7i7+bHaGwJ5GoL+//28hhB/mOE7jeAEmE3FTJYksqChyOSzMva420UWPT6mAg7LCj2IMiUck1p8uiGNbWXy1k+zU9XMBuu5SfgRgXePnRq90BwJ+11awYX2rBwFGstWzF8wShsCeREBRFFMQmCBBxEDXEMZ4/XcLhACkawGtLTOOYfJL41ZatKDkx5RPLKV2bMmTbLHD7PCFHowxb/fUrzrd+UvumVNRkp0fu9Lt9zOS3SL8VdOdkWzVbAUzhCGwNxFQFOUEAIAehxrVeajHijhOt9XUhWIrCzVUhtAsN6dpSQkkVcfS/Hi7rqnG9085kclmwBMtTWd31y8JFtuqaHUsVBuCN8vp1UZc3hYj9Snfg3WVnxu9ui8Q8DsLtWWf7w0EGMnujX1iVjIE9gQC/f39P4IQvsk0Nt9RKSGYnxm60LPxHrfYhZrHxWZ7gVbMqZDyUrE2FNPOJNpijo3XSPbK/kAgQIs2sOcWQICR7C2wiWwJDIFqQ0BRlHkAgCENmI9c5sau+HU1Cb81Yz23nChdmpG6zg+nAqDoXA1dR89CiLRqwcOUXrTaa+I1DW0FU5xSnuz+QMDPSLZaNnGLdjCS3SKArDtDgCGQHYGvfOUrXHd3NyU80th9PKtIxNLU8MlELCwMx/j55+bKT/Hpcau+XpfaZnW44jW+9oJktlN7tjhx7VAyEXfwgkDq2w4VFMqgJDs7dvWA7Pfbd8pGNs/2IsBIdnvxZaMzBF7TCCiKEqK6xw1dRwchRHgjGPOjl/2apsJy7mUzxzrqVOtP16odiOeJr33rGsKV3DRTdpGOCRGiScWEClUgDmGnp/kKREg359O0hDg/evW4LMvG/TZ79j4CjGT3/h6yFTAEqhoBGn0MIaQRyMTd0HbVYnOFTYNX5iYOx0JLhte2FaJ9Q53avt+uemnKjBlkVU2gZAhUZIp3GDoemUpVGGvc/OiVg37myVbT9m3JFkayW4KPdWYIMATyIdDf3/9GCOFzAAANQsjRSOONd7QrM6PHYpFVaStEa0YbW2zORG0VqT/lw4YGRG38UcBI9tb7e2Ike+vtKVsRQ6BqETBzauvb9r/KC1LCNDQRDvmWZkfa6P9PYKQuJEH0mVnpWrELoSRbrV5srjVkizpmJFvsju+ddoxk985eMUsZAnsegf7+/g9BCL9Az0wbu44NpI6RjXXRIKhkPCoQcvPq9isT1rNRHRaMFn6TN97VYcUeyeGKu6so8KmQJ0s/t9f6lp21PqMeLyPZPf+Kb1oAI9lbb0/ZihgCVYuAoigYIXSKEDJIq9X4Og+/jBCfDvwxDccYo9nhC71rni3Unhy3ns21KLeIpXc1xo9BiIDb21q0GP9ug5SIRxxLk0OHMu9lGcnu9q5Ufn5GspXHlI3IEGAIZEEgGAx+jRDyXgjhnwQCgU+YR8f58mhnhy/6MdYhARA/Nmod3Djsfa2Jk1akC/So2NPUdV2QbMt7CfzZ4QunMMYcjTq21dQv22s8wyzwaS/tYGFbGckWxoi1YAgwBLYBgcHBwad0Xb8bcZzm6ziS01OdG73sT0kwGhrJT0zYzh52qHUiAtxxp9q81+5iN0KZWfCdeuMQgqiu6ycQQt8GABwhhHAIob/w+/2/tw3bwIbcZgQYyW4zwGx4hgBDIDcC9PiY5rHYXZ5pZ33zRK6Wi1M3etR4jKe6yNmeYiQLq3UfKMkSWkAB8nGIVSPKOstDWO5ste5gfrsYye7NfWNWMwRuGQQURYkBAAxyadgQDJW5SNPjs9hroqJkjUeW5mppzXhf59GCSkrVDNbauiAIO7uDjsjISUB0DiMxHrW1XqR228OjxyFRLRDCzwQCgY9X81qYbZsRYCTL3gqGAENgVxE4c+bMr3Ac9/dUrIIa4vD4Jhxu38xGo0yS5TguQQDg8h0x7+qCSpw8k2RzdXWErhsF6unnhBB/X1/fpvvpEqdlzXcIAUayOwQ0m4YhwBDIj4CiKDQvdh9tJdnsy+7GLiOtxXzmxi77dXWtPJ75FLrP3QuYF0OydB3W6NQ+To+6U2ualmW5aS+s77VuIyPZ1/obwNbPEKgSBILBIK23epCqQhUiT13X+IXxqyexrhvfYbW+1msWh3ulSpZStBnpVCWOJ2FbR1HH3pleLUJo3u/3e4uekDXccQQYye445GxChgBDIBcCwWBQo9G0kt255G7ouFEIqfmxK72amqRi+jkr/RQaYzc/1/WkMDdy5aQqOKMJyWfcwRbzCOqKxxJf6ASA0O/wr8iyfF8x/VibnUeAkezOY85mZAgwBHIgoCjKRcTx+3wdh18pFqTZkUt+rGvGd9leijJemRtti4VWfdTuqLPrHAYoWeyazXamVwsh/BkAwBt4nv9cT09PpNRxWPvtQ4CR7PZhy0ZmCDAESkRAUZR+hLgeX+eRokmWTrE0PXQyEY1QUQpsdzeMO2rr58ypF6du7JdsjhVbjS/9byWaVfHmmbmxMXvrVR1ZVsudxBG6HtjQl6ZF3S/L8lfLHZP1qxwCjGQrhyUbiSHAENgiAoqiTAIAmsrxSGeGLgQydY9TpqRLy3Ecr9a37j8Puc0yjls0u6Tu6fqyiCdhe3H3sMVO4AgPnQIEc6n2s7IsNxTbl7XbHgQYyW4PrmxUhgBDoAwEFEWZBQDUN3YfLyoIKNsUupqwrS5M70vGwqIpXiHZXdF4ZNVmEu9Wxi9jWeu6mOITEUd3cKtj5erviAz1AIx5AMBvy7L8ue2ah41bGAFGsoUxYi0YAgyBHUKARhgTQg5WigSp9jGVXfR2HDZIe3Fy6FQyHuF8bYfOIkEoWN1nq8vOKNZOhyI0cpraU+4dbLH2iMmlBjGx2Iox/r9Pnz7934vtx9pVHgFGspXHlI3IEGAIlImAWUTA6vTM1nibx8ocJme3lYXpg7GVeefGeraVnoeOl3nvum58xJGwvbNsT70YW3k9UiNFp/fTthDCfw0EAncV04+1qTwCjGQrjykbkSHAENgCAsVU5yl3+OjKfMfqwnR9qr8phAwF0Raua+2+XO642fqtC26y+sZ13rlJxaqS82Ubyx667qeqyBzHvb+3t/dr2z0fG38zAoxk2VvBEGAIVBUClGQRx6m+jtIijItdBMGYnx252GPe19LjW/O/HR7vmMPdQO+FK/LMDF/oofPRAgDbeQebz9hUms+3ZVl+d0UWxQYpCQFGsiXBxRozBBgC242A6cmKVtuqp6n76nbPR8fXkwnbwtTQYTPflv5bORHO+TzasHPftgU65cJoTbRivhMA8Kosyyd3Aks2x3oEGMmyN4IhwBCoKgTM8nfUKNFqX/E0dVFN4x15VucnD1kk59LS7EibOaGnqfOiaHVESzVgeXqkOxZZraWeMtiBe9hM+4RkyGNJzHUAQBCEkPA872QiFaXuYGXaM5KtDI5sFIYAQ6CCCCiKMgoAaJMcNfNuX9tIBYcueqilqeGTiVhYsDlrZlzetvGiO6YamneyBPEkUuF82EK2UIEKCKGGEPqj3t7eTxdqzz7fPgQYyW4ftmxkhgBDoAwEBgcHe3Rdf5l25UVLtL71QNGavmVMl7fLzND5AL2v9TTvO09r2JYyvkmyO31M7AgP9wCi8xzHvau3t/fbpdjM2lYeAUaylceUjcgQYAhsAYH+/v7fgRB+1uFpGHO4vRULQirXpOmh8wFACLDX1k84axunC42zMj/enoyEanVdp2IQQLV4lhNi7bqyfYXGKOVzKT7XwekxJ83DhVi1pOrOfkOW5feWMg5ruz0IMJLdHlzZqAwBhkCZCCiK8nYAwPdS3XFj9/FdLVCuqwn7wsT1wxhjmnOKG7qO5bVnY37sdnqyjshwD8AGmZvpSBS2A7Isbxupl7mtr9lujGRfs1vPFs4QqF4EFEWh97A0+AjS49qmfSd2PDJ3Izpzo5f9uqZChJDu6zxqHGdnewyS3aZAJ2tich/UdBERzUII5lJf4N+UZfk91bubr23LGMm+tvefrZ4hUNUIDAwMRDDGNovNvlzb2LXr3tn82NVeTU0gm9M95/K20uCsTc923cVmlLUz5RkxxvgX+/r6Hq/qTXyNG8dI9jX+ArDlMwSqFYHMVB63t/W65HQvV4Otpkfradl3XrRsDoZamhnqSkQiHgAg0HlJjVmbSyrbl22NjvBQDyCYRwg94/f731YNODAbikOAkWxxOLFWDAGGwA4h0N/f/0sQwr8BAFiKuQPdIbPWTZPyVkmuQgbpcnYAgK3eydpi40eQlrBpmva+22+//eu7sV42Z/kIMJItHzvWkyHAEKgwAoqiJAEAAh0WIoQbOo/uatBTruXNjVzy67pGvz9zEm10aaJpdWmpWecd8Zi14Xy5UCFNlWyx0WMGJhDOBgIBViO2XDB3oR8j2V0AnU3JEGAIbEZgYGDgmxjjd2VGyiKO13wdh7d83LodeM8OX/BjjHMSrenNRu3tFzESSlaMyrQZEk2wh0eoLCKRZRltx3rYmNuDACPZ7cGVjcoQYAiUgMALL7xgFYQ0EdF0lIzvJkgau49ta2m4EkxNN92YqlPXvO+CIFljZoP0kfEWI40d4aFTgGCOEixC6K1+v/+H5djL+uwOAoxkdwd3NitDgCGQgcDg4OBbdF1/lurs0sLm5kf0Tra2seuyaLVtyRMsF2xNS4g8b6FH2JseSrKCxaZLdsdKaHHWk2pAiRBba+qnnLW+GZNokxb3iqBFnFBXN3mh+Sr08GqoRorP0rqw87Ise8tdB+u3ewgwkt097NnMDAGGQAYCAwMD78UYZ9Y8zXnfud3ALc+MdCWi4RpCCPUggWi1rnqa9qUrAsXjq47lydFDdU3d1wWrzYh6XpkdPxoLL1sBLQhAMrUhbloLEdIJxgbR0h8UGGMq4A903p6MWRvPZa7LTNlJtb0jEAi8uN3rZuNXHgFGspXHlI3IEGAIlIGAmbJD+QmhwspKZUxRsMvq/FRzdHWhKVtDxPOqr33tfjgWWXatzIwfEC1W3dOyb5MwxfLMyHGCCeIEy6qrvmlY15OCGo3aN6YhRRbnvKHlmXY6ZmYUspmyQ6vwAQCisiy7ChrPGlQlAoxkq3JbmFEMgdceAoqirAAInY1d23f/mu/4lyJu3rNyHE9Epztc42m8EgsttazMTTSmdoT4Og69gjWNn5+4fszqcsVr6tvLjhyeGTrvp8fjOm9PxKyNr5q7botOHER6nOoRB2VZll97b8Ots2JGsrfOXrKVMAT2NAKKolwGABysVLH0TDCiywv10dX5Bk1TJRpA5PI2jei6KjjdNwX/l6dHO+PR1Tp6fNvQdWyTjOPcyEW/ruvGdyaVeqTttmrrGqlDEHZ2r5vPPCrGGP/G6dOnac4we/YoAoxk9+jGMbMZArcaAsFgUCeEIN4iRepb9l8qZ32rixMtztqmKV1TBV6wJDK90xzjEavdPR+LLNenPof5iDMeDdevzo23Y12jGsbE13l0S1HPU9fP0bqvmwQrkK5abNHR49QmjuNO9/b29peDB+uz+wgwkt39PWAWMAT2JAKDg4Ov6+3t/fdKGU/vZJ019VP2usapUseMrMx5Qwtrd5vmY3qb9P8jhC5hjOvNCF1FUQYhhA5CCI3cTT+5vNhS7Sm2fUZh90TE3pE+Lqb9aeH1VC7TqCzLHcWOydpVFwKMZKtrP5g1DIGqRmBgYOCjGOPPm0bKslyx7xBFUYjNVTftqm+aKBUEk6wghK8SQjQAQDcAwAgWQgg94ff7H8o2Jp2T/ruv8+ggTb0pdd6ttDfTezCBAEICIs59G4+MAzSbiX4GIfxOIBB451bmY313B4GK/YHsjvlsVoYAQ2AnEejv7yfU26sEySqK8r8hhHcAADqo1wkAcJZ7x5khDJFWRHrppZcOnj59+ko+fMyI5nLn3Qr2M0Pne+nx+JNj0rn7W+MnIEzXhE0DHNE5bOeMe2BDWQpj/PbTp08/vZV5Wd+dRYCR7M7izWZjCOx5BBRFocIQEoTwh4FA4K2lLigYDH6fEHL3elUnY5Sy82LNKF1jEELm+/r6ihJuCAaDGs2F3WmSpVHO86NXTwCAyKOj0oDfrXUfcapuARKICSKLKsG1AuEeH7MZ3u2H2uKnOIg5Ks4RCASM3F327A0EGMnujX1iVjIEbhkEzCNaW039pKuucWp1YaoZIU531PpmtrLIuZFLJ3VdWysuAOGVQCBwqNB4wWAwSgixUm52ehpH7e76+UJ9KvG56XkrS8L8qyGBFqg3HgsH+IQO6HH3pufhtlgvggTxPF976tSpqij7VwksbvUxGMne6jvM1scQqCIEBgcH/5Ou639qr62fcNbeTJ+phImzI5dOOGq9y6vzU77UeEVJESqKogIAeIPkbDULtY1tw5WwJ98YlGTpXewXxqybUoVy9bNAwD3QFj0FAEjIskxTkdizBxBgJLsHNomZyBC4lRCgnqzVUTtX42sZrdS6TM/Q137wAuLFmBlUVIrXl1kk/qZd21OcgNpLg5oeK4FkqU33tURPWjmjFKAiy3JfpfBj42wfAoxktw9bNjJDgCGQgUB/f/+nIISfoKe5Do9v3OHe2vFwJriUtDLTbzQtKc6PXjkBIfzHQCDwy8VsRDAY/E1CyKcBAF+l1W4wxrRuq1Db3HF5dXay01nnG5fstcYxrUnihjoVDf8t8TH7Pzq6dudaynNPQ/xAgwW7EEIf9/v9nymlL2u78wgwkt15zNmMDIHXJAKm2ASAUG/sOrZJ79cEZWl6aL9gkaKO2qZJ+m+zwxd73I1tV0XJkbMSj+nJur1tk5KzZmp+4tphLRG3bzXFyLw/Nm1DHKdZHbWzkZX5ZvPf6loPnBPE7JV6cm308uxoZyy8WvdYGSRLx3ykPdYLAVHZsXH1/ykxkq3+PWIWMgT2PAIvvvjiG3ie/wldSF5Fpciye3lmfJ+5YKvDPRcLLxuRwo5a33iu4Ki0Z9l93PAMMda42eFL9P5yS0XOFUV5AQBwOwBgEQBglrPbtB81dU1D1po62qaoZ2lmeF8iEnaX48nSCd5Ql2zdb9d8rIB7UXDvaiNGsrsKhi+MdwAADuxJREFUP5ucIfDaQYB6hYIoheta91ON4qzP4szQvmQk4hZFSU8m4xtTVbKm+JheLOI44us4kpY5pIFQWNdECGEiEAhULFAoGAw+hTG+OzNfuNCPh42LNUvllUOyVo7w97XEerb6A+K18+bt7koZye4u/mx2hsBrBgHj6BVC3Nh1bDDbojFW+dnhy5Q8DG83Hl5pXJ4db1krz7p27UnrsTZ0HjWOmrV41Do/eeMI/Wee50l9++FNOsIzQxdOEWLkl8YDgQBN1anIs/EYOWPQonJ9KckuTY4eKve4+P6W+HGJw2I4HBbvuuuurCk/FVkoG2TLCDCS3TKEbACGAEOgGARS0bugxts6ZHW6lzb2mRm+2EOwzvOihOtb968jYl1N2OfHrx02yTazL0Ic8XXe9GBzjQsh1CCEH/L7/V8qxt58bRRF+SIA4EGzDYSQFjcwPO9ihC2oGMXMyNUTpthEqfY80h7zU4EodlxcKnI7356R7M5jzmZkCLwmERgYGHgeY3ynufiGjsMvQ46nRcnXHozR9PCFXvqfHM8Tb9uhl6nnmwnWyszosUQsbMEYG99dda37LwmiFCkE6OzIxR6s60YuLD0+xhhHEELPBgKB+wv1zfV5cGAgSjBe5x17WrsviKItVmjMhcnrB9V4zFnOcTEd++caEt3NFr0WIfQ6v99P743ZU6UIMJKt0o1hZjEEbkUEBgcH+zRNux9C+LFsMopYVfnZsbUjY/qINmfS09hxrlJYmAFSmeNR77ivr6+s78JgMBgjhFhsdte8q6G9YN4v9WBDc5PtoUjU9W+L4thIlJsrd22/2B6laUvTgUCgqdwxWL/tR6CsF2v7zWIzMAQYArc6AlQDGUIoNdBc0yyPSYiepq4h0WovOnK3FNxmhy+cwhjTY96yopD7+/v/ACH036jQf6Fj4kyC/+dp65WFJAyVYmtm23t8yf0NklYDAPieLMv3ljsO67f9CDCS3X6M2QwMAYZAFgQoMQWDwVUIodUIZsoQdTAJqdB9ayWAnRk6fyp1nzomy3L7Sy+99Mjp06cfK3ZsUynKYrUv1zZ1Xc/Wb27kYo+u6zytqnM9jFYHVoSs7YqZk4cEfbAtRtOTYrIs24vpw9rsHgKMZHcPezYzQ4AhAACgIv20qo+v88jLofnJ5mhomSotAY7jiDcjJWc7wdp4jFyKiEWaZCX7am1z19WNdppH4FRG8XuzlqvzCbS6lbUcsGu1r69LdrGgp62guHN9GcnuHNZsJoYAQyAHAsFgMEEIEemx7VqmDiK+zqNZj5G3C0Qzr5aOXwrJBoPBJwkh9+c7Ls6odwso2T47ZxmajKOyjsBFDnAPthiFAv4fWZb/eLvwYONWBgFGspXBkY3CEGAIbAGB/v7+34QQ/q/MITheIN72QztKtNND5/2AEE2WZUr4RT/Um0UIYV8qhzdXx0yyLTeymI59X0vshJUj35Vl+b1FG8ka7goCjGR3BXY2KUOAIbARAUVRTgMAzmT+e6FgokqjuFYdp/ii7+b8AwMDj2GMP1Qk0fqpt34+JKz2LwmbjpeLWdOH2qK9HASrsizXFtOetdk9BBjJ7h72bGaGAEMgCwLpknMIkcYdPjKmJIsQUv1+f0meLF2GoijTAAB6n1xQ9cn0aMv1Zh9uj51CgLwgy3I675i9TNWJACPZ6twXZhVD4DWNQDAYXCCEeBBCeqEj2EoCZQZAQQi/EwgE3lnq2GalIZenccTmrp/Pc2xseLNfnrSdi2kgWeo8j7RHT0EA7pJl+ael9mXtdxYBRrI7izebjSHAECgSAZpHCwCwChZrqK5l35Uiu2252dT1c0Zt2lKCnzInVRQlDiESGrqOZtVopm3nRi4f1XXVuqrz2jcmxLOlGP2G+mRDl1V/5ba+wDtK6cfa7g4CjGR3B3c2K0OAIVAEAqYQ/07ezZrebLkk+8lPfhLde++9eqGKQ+aR8XMLlonhCEePmgs+++ya+3WepLXG6Th8+PDhssUsCk7EGlQMAUayFYOSDcQQYAhUGoFgMPgMIeStdFyL3bVY29A+RP87tDDZEguv1EMICcEY8RZbSLK5lm01noWt2LC6ONUcXV5oosUEAoGAUO5YiqLoCHHY13kkp5da6r2shQPce5pj3RICHwgEAj8o1zbWb2cRYCS7s3iz2RgCDIESEThz5oyL47hleoeZpSstIIDM/Fr6OS2HR8nX7Wu9JlqdBYsHZI4ZXpptCC/NtkIIZwOBgCGKUeozMDBwEWN8GEKIG3KU9TOPpOnY2YKf3AK2LKsoQT8/UaN6my24xmvBNBjrb2/vC1DdZ/bsEQQYye6RjWJmMgReywgoivJ6hNAzGGMaJJSQZbkxGx6KonwZQngbhLAZY2x4opzFGvG27LtULH5bPS4udMRt1rglAJHHRqVNecD3t8aPWBAtm0dE+gVNgBEYdR1B+JNAIPDrxa6DtasOBBjJVsc+MCsYAgyBCiPw8ssvn9I07UVazIcGMvGiJVbXsv9ioWnMY9xy7mSfe+45yeFwxDieV73th1/ZONfM0PleqtlMa9A/NmYLZn7e49a87ZIu1Aq60CcHfAMDA1+MRqOfuPPOO28Uspl9Xr0IMJKt3r1hljEEGAIVQmBgYGASY0y9XyrZqDtrG0etNZ6ssoapXNkxv9/fXsr0VIOZEGLUl80WqDU/duWopiatACDy6AYP1iVg8T1N8eMAgGdkWb67lHlZ2+pGgJFsde8Ps44hwBCoIAIDAwPXCCFeQojLOErmhYS37eD5DRWAAqkjaanYqWmgk3k3TO9h6Z3wxr6UvOkF8hdG13uwtN0jtDYsACAcDlvvuuuueLHzsnbVjwAj2erfI2YhQ4AhUGEEzpw508Nx3E9pPVtCCA8AJLW+luuivWZ1huoXr937FkWyZ86c+RWO4/4+n3BGaHG6MbI8//+3dz+/UZRxHMfnmZ1FKq0VS7GhKYhYJVbtZueZcPRi8GJijJpw0D+Ak3Lyf/DEibvxrNGDGi7GI5TnGZKmJUQDKOVHbEOhpbKldOcxT9nFmhRZZJmdZ553r93O8/2+vpt+srMz84zOLEfL6ta2fz1K8ZO9jVoUmEqz2fzi0KFDX3a5VQ7XYwFCtscDYHkEEOitgNb6e2OM3fjcXqW88ROG4Uf1ev2bTirTWq8aY57pdBee9tXEOyqm+vFo4y27hjHmepIkezpZj9e4JUDIujUvqkUAgackkKapzrJsPIqid2q12lSny2itbxtj+h8WsmuNOzsWr188eD9MRfDVXJ+297weGd14NGIghDgXx/FEp+vxOrcECFm35kW1CCBQMIHz588PrKysLNvvYV/cP7Hl1nz3d/cRweK6WBmqmh1BYDb+9/6fK5gL1j7lPEKAkOUtggACCDyhwNmzZ482m80T9jBbfaK9dnGmHtovfk1wT4hgTQhxNY7j155wWf7cAQFC1oEhUSICCBRfIE3TI8aYr+2FVJUouju89+BMu+rWvbdGSvnge9/id0SF3RAgZLuhyDEQQACBloBSyn5SjYwxYnD3yKW+/l2LrYdQCCHEz1mWfZ4kyYMABq7cAoRsuedLdwgg0AOBqampkTAMr7Wet2wGd49dWJqfe6VdSrVa7Z+cnHys5yr3oA2W7IIAIdsFRA6BAAIIbCWgtf7FGPO2/Z3dMKBv4PmFO8s37cYDRgjxRxzH+5ErtwAhW+750h0CCBRAQClld9Sxu+iYkZffSP95hrE5IoSw3+P+kCTJBwUolRK6LEDIdhmUwyGAAAJbCaRpeiLLsqP2dwMvDM/dXlwY27xFX+tvvpVSfohgeQQI2fLMkk4QQKDgAkqpA0KIX+3ZY2O34tk4iyyyZ5/bOf/X0mJ7+z6uQi74HB+nPEL2cbR4LQIIINAFgTNnzpwUQhy2h4qq2xq7xl4911y/V71x5bfXsyyLeEhFF5ALcghCtiCDoAwEEPBPQCllN+YRQ3sOzFa3960uLVzd27h9czgIgstSyn3+iZSvY0K2fDOlIwQQcEhAKbVx3rj9pCi7C5Axxp4yrjjUBqU+RICQ5a2BAAII9FBgenr6zbW1ten2lcetp0N1vNVeD0tn6Q4ECNkOkHgJAggg8DQFlFJXgyDYU4mqq831e3Yf23kppb2flh/HBQhZxwdI+QggUA6B9vezm27ruSKltLf58OOwACHr8PAoHQEEyiWgtV4XYWhMloXGGLuZwAUp5YPHMZarWz+6IWT9mDNdIoCAAwJpmp7Msuzw4NDI70uLf+4LjJnjKmMHBvcfJRKybs+P6hFAoGQC7dPG9iEV9tMs98y6PWBC1u35UT0CCJRMQCn1UxAE79q27HZ5SZLwf9rhGTM8h4dH6QggUE4BrXWWGSNEEPCIRcdHTMg6PkDKRwCB8gkorZcDYwZsZ1EU7azVarfK16UfHRGyfsyZLhFAwCGBmZmZZHV1dapVclNKGTlUPqVuEiBkeTsggAACBRRQSl0OgmDjPlkhxLE4jo8XsExKeoQAIctbBAEEECioQPu5xrY8rjIu6JAIWTcHQ9UIIIDApqdA3ZBS7kLEPQE+ybo3MypGAAEPBE6fPv1+pVL5rtVqxq48bg6dkHVzblSNAAIlF9h8qlgIcS6O44mSt1zK9gjZUo6VphBAwGWB2dnZbY1G424YhutZlkWDg4Pbx8fH77rck6+1E7K+Tp6+EUCgsAJa68+MMfZqYruhuwjD8Hi9Xj9W2IIp7KEChCxvDgQQQKCAApu3vpNS2h15+HFQgJB1cGiUjAACfggopeaFEJ/GcXzSj47L1yUhW76Z0hECCJRI4NSpUy9FUXTJ7soTx3GlRK150Qoh68WYaRIBBFwWsKeOwzD8sV6vv+dyHz7WTsj6OHV6RgABBBDIRYCQzYWZRRBAAAEEfBQgZH2cOj0jgAACCOQiQMjmwswiCCCAAAI+ChCyPk6dnhFAAAEEchEgZHNhZhEEEEAAAR8FCFkfp07PCCCAAAK5CBCyuTCzCAIIIICAjwKErI9Tp2cEEEAAgVwECNlcmFkEAQQQQMBHAULWx6nTMwIIIIBALgKEbC7MLIIAAggg4KMAIevj1OkZAQQQQCAXAUI2F2YWQQABBBDwUeBvKGHCyxcSezcAAAAASUVORK5CYII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es-ES" altLang="es-CR">
              <a:solidFill>
                <a:srgbClr val="696969"/>
              </a:solidFill>
            </a:endParaRPr>
          </a:p>
        </p:txBody>
      </p:sp>
      <p:sp>
        <p:nvSpPr>
          <p:cNvPr id="47" name="46 Conector"/>
          <p:cNvSpPr/>
          <p:nvPr/>
        </p:nvSpPr>
        <p:spPr>
          <a:xfrm flipH="1">
            <a:off x="1959617" y="5606043"/>
            <a:ext cx="142875" cy="144462"/>
          </a:xfrm>
          <a:prstGeom prst="flowChartConnector">
            <a:avLst/>
          </a:prstGeom>
          <a:solidFill>
            <a:srgbClr val="FF6600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MX" dirty="0">
              <a:solidFill>
                <a:srgbClr val="FFFFFF"/>
              </a:solidFill>
            </a:endParaRPr>
          </a:p>
        </p:txBody>
      </p:sp>
      <p:sp>
        <p:nvSpPr>
          <p:cNvPr id="51" name="50 Pentágono"/>
          <p:cNvSpPr>
            <a:spLocks noChangeAspect="1"/>
          </p:cNvSpPr>
          <p:nvPr/>
        </p:nvSpPr>
        <p:spPr>
          <a:xfrm rot="-5400000">
            <a:off x="3330576" y="5502441"/>
            <a:ext cx="144000" cy="144000"/>
          </a:xfrm>
          <a:prstGeom prst="homePlate">
            <a:avLst/>
          </a:prstGeom>
          <a:solidFill>
            <a:srgbClr val="FF6600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CR">
              <a:solidFill>
                <a:srgbClr val="FFFFFF"/>
              </a:solidFill>
            </a:endParaRPr>
          </a:p>
        </p:txBody>
      </p:sp>
      <p:sp>
        <p:nvSpPr>
          <p:cNvPr id="67" name="66 Conector"/>
          <p:cNvSpPr/>
          <p:nvPr/>
        </p:nvSpPr>
        <p:spPr>
          <a:xfrm flipH="1">
            <a:off x="2328193" y="5631115"/>
            <a:ext cx="142875" cy="144462"/>
          </a:xfrm>
          <a:prstGeom prst="flowChartConnector">
            <a:avLst/>
          </a:prstGeom>
          <a:solidFill>
            <a:srgbClr val="FF6600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MX" dirty="0">
              <a:solidFill>
                <a:srgbClr val="FFFFFF"/>
              </a:solidFill>
            </a:endParaRPr>
          </a:p>
        </p:txBody>
      </p:sp>
      <p:sp>
        <p:nvSpPr>
          <p:cNvPr id="68" name="67 Conector"/>
          <p:cNvSpPr/>
          <p:nvPr/>
        </p:nvSpPr>
        <p:spPr>
          <a:xfrm flipH="1">
            <a:off x="2140404" y="5631032"/>
            <a:ext cx="142875" cy="144462"/>
          </a:xfrm>
          <a:prstGeom prst="flowChartConnector">
            <a:avLst/>
          </a:prstGeom>
          <a:solidFill>
            <a:srgbClr val="FF6600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MX" dirty="0">
              <a:solidFill>
                <a:srgbClr val="FFFFFF"/>
              </a:solidFill>
            </a:endParaRPr>
          </a:p>
        </p:txBody>
      </p:sp>
      <p:sp>
        <p:nvSpPr>
          <p:cNvPr id="61" name="60 Anillo"/>
          <p:cNvSpPr/>
          <p:nvPr/>
        </p:nvSpPr>
        <p:spPr>
          <a:xfrm>
            <a:off x="1352710" y="4509120"/>
            <a:ext cx="2715234" cy="2705777"/>
          </a:xfrm>
          <a:prstGeom prst="donut">
            <a:avLst>
              <a:gd name="adj" fmla="val 15572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s-CR">
              <a:solidFill>
                <a:srgbClr val="696969"/>
              </a:solidFill>
            </a:endParaRPr>
          </a:p>
        </p:txBody>
      </p:sp>
      <p:sp>
        <p:nvSpPr>
          <p:cNvPr id="62" name="61 Rectángulo"/>
          <p:cNvSpPr/>
          <p:nvPr/>
        </p:nvSpPr>
        <p:spPr>
          <a:xfrm>
            <a:off x="152216" y="4810354"/>
            <a:ext cx="1584176" cy="230470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s-CR">
              <a:solidFill>
                <a:srgbClr val="FFFFFF"/>
              </a:solidFill>
            </a:endParaRPr>
          </a:p>
        </p:txBody>
      </p:sp>
      <p:sp>
        <p:nvSpPr>
          <p:cNvPr id="63" name="62 CuadroTexto"/>
          <p:cNvSpPr txBox="1"/>
          <p:nvPr/>
        </p:nvSpPr>
        <p:spPr>
          <a:xfrm>
            <a:off x="467544" y="1685126"/>
            <a:ext cx="312666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CR" sz="1600" dirty="0">
                <a:solidFill>
                  <a:srgbClr val="FFFFFF">
                    <a:lumMod val="75000"/>
                  </a:srgbClr>
                </a:solidFill>
              </a:rPr>
              <a:t>Oficina Central y Planta </a:t>
            </a:r>
            <a:r>
              <a:rPr lang="es-CR" sz="1600" dirty="0" err="1">
                <a:solidFill>
                  <a:srgbClr val="FFFFFF">
                    <a:lumMod val="75000"/>
                  </a:srgbClr>
                </a:solidFill>
              </a:rPr>
              <a:t>Tipitapa</a:t>
            </a:r>
            <a:endParaRPr lang="es-CR" sz="1600" dirty="0">
              <a:solidFill>
                <a:srgbClr val="FFFFFF">
                  <a:lumMod val="75000"/>
                </a:srgbClr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CR" sz="1600" dirty="0">
                <a:solidFill>
                  <a:srgbClr val="FFFFFF">
                    <a:lumMod val="75000"/>
                  </a:srgbClr>
                </a:solidFill>
              </a:rPr>
              <a:t>Sucursal y Planta Cofradía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CR" sz="1600" dirty="0">
                <a:solidFill>
                  <a:srgbClr val="FFFFFF">
                    <a:lumMod val="75000"/>
                  </a:srgbClr>
                </a:solidFill>
              </a:rPr>
              <a:t>Sucursal Managua </a:t>
            </a:r>
            <a:r>
              <a:rPr lang="es-CR" sz="1600" dirty="0" err="1">
                <a:solidFill>
                  <a:srgbClr val="FFFFFF">
                    <a:lumMod val="75000"/>
                  </a:srgbClr>
                </a:solidFill>
              </a:rPr>
              <a:t>Xiloa</a:t>
            </a:r>
            <a:endParaRPr lang="es-CR" sz="1600" dirty="0">
              <a:solidFill>
                <a:srgbClr val="FFFFFF">
                  <a:lumMod val="75000"/>
                </a:srgbClr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CR" sz="1600" dirty="0">
                <a:solidFill>
                  <a:srgbClr val="FFFFFF">
                    <a:lumMod val="75000"/>
                  </a:srgbClr>
                </a:solidFill>
              </a:rPr>
              <a:t>Sucursal Managua Norte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CR" sz="1600" dirty="0">
                <a:solidFill>
                  <a:srgbClr val="FFFFFF">
                    <a:lumMod val="75000"/>
                  </a:srgbClr>
                </a:solidFill>
              </a:rPr>
              <a:t>Sucursal Managua </a:t>
            </a:r>
            <a:r>
              <a:rPr lang="es-CR" sz="1600" dirty="0" err="1">
                <a:solidFill>
                  <a:srgbClr val="FFFFFF">
                    <a:lumMod val="75000"/>
                  </a:srgbClr>
                </a:solidFill>
              </a:rPr>
              <a:t>Rubenia</a:t>
            </a:r>
            <a:endParaRPr lang="es-CR" sz="1600" dirty="0">
              <a:solidFill>
                <a:srgbClr val="FFFFFF">
                  <a:lumMod val="75000"/>
                </a:srgbClr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CR" sz="1600" dirty="0">
                <a:solidFill>
                  <a:srgbClr val="FFFFFF">
                    <a:lumMod val="75000"/>
                  </a:srgbClr>
                </a:solidFill>
              </a:rPr>
              <a:t>Sucursal Managua El Edén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CR" sz="1600" dirty="0">
                <a:solidFill>
                  <a:srgbClr val="FFFFFF">
                    <a:lumMod val="75000"/>
                  </a:srgbClr>
                </a:solidFill>
              </a:rPr>
              <a:t>Sucursal Chinandega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CR" sz="1600" dirty="0">
                <a:solidFill>
                  <a:srgbClr val="FFFFFF">
                    <a:lumMod val="75000"/>
                  </a:srgbClr>
                </a:solidFill>
              </a:rPr>
              <a:t>Sucursal </a:t>
            </a:r>
            <a:r>
              <a:rPr lang="es-CR" sz="1600" dirty="0" err="1">
                <a:solidFill>
                  <a:srgbClr val="FFFFFF">
                    <a:lumMod val="75000"/>
                  </a:srgbClr>
                </a:solidFill>
              </a:rPr>
              <a:t>Sébaco</a:t>
            </a:r>
            <a:endParaRPr lang="es-CR" sz="1600" dirty="0">
              <a:solidFill>
                <a:srgbClr val="FFFFFF">
                  <a:lumMod val="75000"/>
                </a:srgbClr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CR" sz="1600" dirty="0">
                <a:solidFill>
                  <a:srgbClr val="FFFFFF">
                    <a:lumMod val="75000"/>
                  </a:srgbClr>
                </a:solidFill>
              </a:rPr>
              <a:t>New </a:t>
            </a:r>
            <a:r>
              <a:rPr lang="es-CR" sz="1600" dirty="0" err="1">
                <a:solidFill>
                  <a:srgbClr val="FFFFFF">
                    <a:lumMod val="75000"/>
                  </a:srgbClr>
                </a:solidFill>
              </a:rPr>
              <a:t>Salespoint</a:t>
            </a:r>
            <a:endParaRPr lang="es-CR" sz="1600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72" name="71 Conector"/>
          <p:cNvSpPr/>
          <p:nvPr/>
        </p:nvSpPr>
        <p:spPr>
          <a:xfrm flipH="1">
            <a:off x="323528" y="2276872"/>
            <a:ext cx="142875" cy="144462"/>
          </a:xfrm>
          <a:prstGeom prst="flowChartConnector">
            <a:avLst/>
          </a:prstGeom>
          <a:solidFill>
            <a:srgbClr val="FF6600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MX" dirty="0">
              <a:solidFill>
                <a:srgbClr val="FFFFFF"/>
              </a:solidFill>
            </a:endParaRPr>
          </a:p>
        </p:txBody>
      </p:sp>
      <p:sp>
        <p:nvSpPr>
          <p:cNvPr id="73" name="72 Conector"/>
          <p:cNvSpPr/>
          <p:nvPr/>
        </p:nvSpPr>
        <p:spPr>
          <a:xfrm flipH="1">
            <a:off x="325800" y="2498494"/>
            <a:ext cx="142875" cy="144462"/>
          </a:xfrm>
          <a:prstGeom prst="flowChartConnector">
            <a:avLst/>
          </a:prstGeom>
          <a:solidFill>
            <a:srgbClr val="FF6600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MX" dirty="0">
              <a:solidFill>
                <a:srgbClr val="FFFFFF"/>
              </a:solidFill>
            </a:endParaRPr>
          </a:p>
        </p:txBody>
      </p:sp>
      <p:sp>
        <p:nvSpPr>
          <p:cNvPr id="74" name="73 Pentágono"/>
          <p:cNvSpPr>
            <a:spLocks noChangeAspect="1"/>
          </p:cNvSpPr>
          <p:nvPr/>
        </p:nvSpPr>
        <p:spPr>
          <a:xfrm rot="-5400000">
            <a:off x="324704" y="2031604"/>
            <a:ext cx="144000" cy="144000"/>
          </a:xfrm>
          <a:prstGeom prst="homePlate">
            <a:avLst/>
          </a:prstGeom>
          <a:solidFill>
            <a:srgbClr val="FF6600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CR">
              <a:solidFill>
                <a:srgbClr val="FFFFFF"/>
              </a:solidFill>
            </a:endParaRPr>
          </a:p>
        </p:txBody>
      </p:sp>
      <p:sp>
        <p:nvSpPr>
          <p:cNvPr id="75" name="74 Conector"/>
          <p:cNvSpPr/>
          <p:nvPr/>
        </p:nvSpPr>
        <p:spPr>
          <a:xfrm flipH="1">
            <a:off x="329730" y="2750192"/>
            <a:ext cx="142875" cy="144462"/>
          </a:xfrm>
          <a:prstGeom prst="flowChartConnector">
            <a:avLst/>
          </a:prstGeom>
          <a:solidFill>
            <a:srgbClr val="FF6600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MX" dirty="0">
              <a:solidFill>
                <a:srgbClr val="FFFFFF"/>
              </a:solidFill>
            </a:endParaRPr>
          </a:p>
        </p:txBody>
      </p:sp>
      <p:sp>
        <p:nvSpPr>
          <p:cNvPr id="76" name="75 Conector"/>
          <p:cNvSpPr/>
          <p:nvPr/>
        </p:nvSpPr>
        <p:spPr>
          <a:xfrm flipH="1">
            <a:off x="332002" y="2971814"/>
            <a:ext cx="142875" cy="144462"/>
          </a:xfrm>
          <a:prstGeom prst="flowChartConnector">
            <a:avLst/>
          </a:prstGeom>
          <a:solidFill>
            <a:srgbClr val="FF6600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MX" dirty="0">
              <a:solidFill>
                <a:srgbClr val="FFFFFF"/>
              </a:solidFill>
            </a:endParaRPr>
          </a:p>
        </p:txBody>
      </p:sp>
      <p:sp>
        <p:nvSpPr>
          <p:cNvPr id="77" name="76 Conector"/>
          <p:cNvSpPr/>
          <p:nvPr/>
        </p:nvSpPr>
        <p:spPr>
          <a:xfrm flipH="1">
            <a:off x="326897" y="3243092"/>
            <a:ext cx="142875" cy="144462"/>
          </a:xfrm>
          <a:prstGeom prst="flowChartConnector">
            <a:avLst/>
          </a:prstGeom>
          <a:solidFill>
            <a:srgbClr val="FF6600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MX" dirty="0">
              <a:solidFill>
                <a:srgbClr val="FFFFFF"/>
              </a:solidFill>
            </a:endParaRPr>
          </a:p>
        </p:txBody>
      </p:sp>
      <p:sp>
        <p:nvSpPr>
          <p:cNvPr id="78" name="77 Pentágono"/>
          <p:cNvSpPr>
            <a:spLocks noChangeAspect="1"/>
          </p:cNvSpPr>
          <p:nvPr/>
        </p:nvSpPr>
        <p:spPr>
          <a:xfrm rot="-5400000">
            <a:off x="332003" y="1780131"/>
            <a:ext cx="144000" cy="144000"/>
          </a:xfrm>
          <a:prstGeom prst="homePlate">
            <a:avLst/>
          </a:prstGeom>
          <a:solidFill>
            <a:srgbClr val="FF6600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CR">
              <a:solidFill>
                <a:srgbClr val="FFFFFF"/>
              </a:solidFill>
            </a:endParaRPr>
          </a:p>
        </p:txBody>
      </p:sp>
      <p:sp>
        <p:nvSpPr>
          <p:cNvPr id="28" name="27 Conector"/>
          <p:cNvSpPr/>
          <p:nvPr/>
        </p:nvSpPr>
        <p:spPr>
          <a:xfrm flipH="1">
            <a:off x="2555776" y="5660802"/>
            <a:ext cx="142875" cy="144462"/>
          </a:xfrm>
          <a:prstGeom prst="flowChartConnector">
            <a:avLst/>
          </a:prstGeom>
          <a:solidFill>
            <a:srgbClr val="FF6600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MX" dirty="0">
              <a:solidFill>
                <a:srgbClr val="FFFFFF"/>
              </a:solidFill>
            </a:endParaRPr>
          </a:p>
        </p:txBody>
      </p:sp>
      <p:sp>
        <p:nvSpPr>
          <p:cNvPr id="29" name="28 Conector"/>
          <p:cNvSpPr/>
          <p:nvPr/>
        </p:nvSpPr>
        <p:spPr>
          <a:xfrm flipH="1">
            <a:off x="324669" y="3716586"/>
            <a:ext cx="142875" cy="144462"/>
          </a:xfrm>
          <a:prstGeom prst="flowChartConnector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MX" dirty="0">
              <a:solidFill>
                <a:srgbClr val="FFFFFF"/>
              </a:solidFill>
            </a:endParaRPr>
          </a:p>
        </p:txBody>
      </p:sp>
      <p:sp>
        <p:nvSpPr>
          <p:cNvPr id="31" name="30 Conector"/>
          <p:cNvSpPr/>
          <p:nvPr/>
        </p:nvSpPr>
        <p:spPr>
          <a:xfrm flipH="1">
            <a:off x="323528" y="3500562"/>
            <a:ext cx="142875" cy="144462"/>
          </a:xfrm>
          <a:prstGeom prst="flowChartConnector">
            <a:avLst/>
          </a:prstGeom>
          <a:solidFill>
            <a:srgbClr val="FF6600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MX" dirty="0">
              <a:solidFill>
                <a:srgbClr val="FFFFFF"/>
              </a:solidFill>
            </a:endParaRPr>
          </a:p>
        </p:txBody>
      </p:sp>
      <p:sp>
        <p:nvSpPr>
          <p:cNvPr id="32" name="Rectangle 2"/>
          <p:cNvSpPr txBox="1">
            <a:spLocks noChangeArrowheads="1"/>
          </p:cNvSpPr>
          <p:nvPr/>
        </p:nvSpPr>
        <p:spPr bwMode="auto">
          <a:xfrm>
            <a:off x="395536" y="260573"/>
            <a:ext cx="8280920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+mj-lt"/>
                <a:ea typeface="MS PGothic" pitchFamily="34" charset="-128"/>
                <a:cs typeface="MS PGothic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altLang="es-CR" kern="0" dirty="0" smtClean="0">
                <a:solidFill>
                  <a:srgbClr val="FF3700"/>
                </a:solidFill>
              </a:rPr>
              <a:t>Our Distribution Network – Nicaragua</a:t>
            </a:r>
          </a:p>
        </p:txBody>
      </p:sp>
      <p:pic>
        <p:nvPicPr>
          <p:cNvPr id="58" name="Picture 36" descr="Resultado de imagen para lupa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7666" t="12181" r="33301"/>
          <a:stretch>
            <a:fillRect/>
          </a:stretch>
        </p:blipFill>
        <p:spPr bwMode="auto">
          <a:xfrm rot="-1524890">
            <a:off x="2012157" y="4356634"/>
            <a:ext cx="2636838" cy="4437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5 Imagen"/>
          <p:cNvPicPr>
            <a:picLocks noChangeAspect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="" xmlns:a14="http://schemas.microsoft.com/office/drawing/2010/main">
                  <a14:imgLayer r:embed="rId7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974" t="1310" r="3809" b="1167"/>
          <a:stretch/>
        </p:blipFill>
        <p:spPr>
          <a:xfrm>
            <a:off x="3208867" y="1481666"/>
            <a:ext cx="5223933" cy="4893733"/>
          </a:xfrm>
          <a:prstGeom prst="rect">
            <a:avLst/>
          </a:prstGeom>
        </p:spPr>
      </p:pic>
      <p:cxnSp>
        <p:nvCxnSpPr>
          <p:cNvPr id="59" name="58 Conector recto"/>
          <p:cNvCxnSpPr>
            <a:endCxn id="55" idx="3"/>
          </p:cNvCxnSpPr>
          <p:nvPr/>
        </p:nvCxnSpPr>
        <p:spPr>
          <a:xfrm flipV="1">
            <a:off x="3436485" y="4920012"/>
            <a:ext cx="1258607" cy="1514866"/>
          </a:xfrm>
          <a:prstGeom prst="line">
            <a:avLst/>
          </a:prstGeom>
          <a:ln w="34925">
            <a:solidFill>
              <a:srgbClr val="0000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59 Conector recto"/>
          <p:cNvCxnSpPr>
            <a:endCxn id="55" idx="7"/>
          </p:cNvCxnSpPr>
          <p:nvPr/>
        </p:nvCxnSpPr>
        <p:spPr>
          <a:xfrm flipV="1">
            <a:off x="2714726" y="4817862"/>
            <a:ext cx="1879339" cy="102150"/>
          </a:xfrm>
          <a:prstGeom prst="line">
            <a:avLst/>
          </a:prstGeom>
          <a:ln w="34925">
            <a:solidFill>
              <a:srgbClr val="0000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5" name="54 Conector"/>
          <p:cNvSpPr/>
          <p:nvPr/>
        </p:nvSpPr>
        <p:spPr>
          <a:xfrm flipH="1">
            <a:off x="4573141" y="4796706"/>
            <a:ext cx="142875" cy="144462"/>
          </a:xfrm>
          <a:prstGeom prst="flowChartConnector">
            <a:avLst/>
          </a:prstGeom>
          <a:solidFill>
            <a:schemeClr val="tx1">
              <a:lumMod val="75000"/>
            </a:schemeClr>
          </a:solidFill>
          <a:ln w="19050">
            <a:solidFill>
              <a:srgbClr val="00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MX" dirty="0">
              <a:solidFill>
                <a:srgbClr val="FFFFFF"/>
              </a:solidFill>
            </a:endParaRPr>
          </a:p>
        </p:txBody>
      </p:sp>
      <p:sp>
        <p:nvSpPr>
          <p:cNvPr id="42" name="41 Conector"/>
          <p:cNvSpPr/>
          <p:nvPr/>
        </p:nvSpPr>
        <p:spPr>
          <a:xfrm flipH="1">
            <a:off x="3781053" y="3933056"/>
            <a:ext cx="142875" cy="144462"/>
          </a:xfrm>
          <a:prstGeom prst="flowChartConnector">
            <a:avLst/>
          </a:prstGeom>
          <a:solidFill>
            <a:srgbClr val="FF6600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MX" dirty="0">
              <a:solidFill>
                <a:srgbClr val="FFFFFF"/>
              </a:solidFill>
            </a:endParaRPr>
          </a:p>
        </p:txBody>
      </p:sp>
      <p:sp>
        <p:nvSpPr>
          <p:cNvPr id="43" name="42 Conector"/>
          <p:cNvSpPr/>
          <p:nvPr/>
        </p:nvSpPr>
        <p:spPr>
          <a:xfrm flipH="1">
            <a:off x="5004048" y="3955862"/>
            <a:ext cx="142875" cy="144462"/>
          </a:xfrm>
          <a:prstGeom prst="flowChartConnector">
            <a:avLst/>
          </a:prstGeom>
          <a:solidFill>
            <a:srgbClr val="FF6600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MX" dirty="0">
              <a:solidFill>
                <a:srgbClr val="FFFFFF"/>
              </a:solidFill>
            </a:endParaRPr>
          </a:p>
        </p:txBody>
      </p:sp>
      <p:sp>
        <p:nvSpPr>
          <p:cNvPr id="44" name="43 Conector"/>
          <p:cNvSpPr/>
          <p:nvPr/>
        </p:nvSpPr>
        <p:spPr>
          <a:xfrm flipH="1">
            <a:off x="5820833" y="5141574"/>
            <a:ext cx="142875" cy="144462"/>
          </a:xfrm>
          <a:prstGeom prst="flowChartConnector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MX" dirty="0">
              <a:solidFill>
                <a:srgbClr val="FFFFFF"/>
              </a:solidFill>
            </a:endParaRPr>
          </a:p>
        </p:txBody>
      </p:sp>
      <p:sp>
        <p:nvSpPr>
          <p:cNvPr id="45" name="44 Pentágono"/>
          <p:cNvSpPr>
            <a:spLocks noChangeAspect="1"/>
          </p:cNvSpPr>
          <p:nvPr/>
        </p:nvSpPr>
        <p:spPr>
          <a:xfrm rot="-5400000">
            <a:off x="4788024" y="4639504"/>
            <a:ext cx="144000" cy="144000"/>
          </a:xfrm>
          <a:prstGeom prst="homePlate">
            <a:avLst/>
          </a:prstGeom>
          <a:solidFill>
            <a:srgbClr val="FF6600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C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68734161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5" name="AutoShape 2" descr="data:image/png;base64,iVBORw0KGgoAAAANSUhEUgAAAdkAAAFHCAYAAADtKzYxAAAgAElEQVR4Xuy9B3Qk13kmem+lrq7uRgfkDEzOM+hukJIVHhUtWcGSbJEiFSjLluWVj3e9z7vPsla29Lz2e3LctWzvWpZli6JIiqQtWVa2JSfZkoboBjicnIBBzo3QofK9e24B1VNodKMzgKFuncPDQfcN//1udX31//cPENCLIkARoAhQBCgCFIG6IADrMiodlCJAEaAIUAQoAhQBQEmW3gQUAYoARYAiQBGoEwKUZOsELB2WIkARoAhQBCgClGTpPUARoAhQBCgCFIE6IUBJtk7A0mEpAhQBigBFgCJASZbeAxQBigBFgCJAEagTApRk6wQsHZYiQBGgCFAEKAKUZOk9QBGgCFAEKAIUgTohQEm2TsDSYSkCFAGKAEWAIkBJlt4DFAGKAEWAIkARqBMClGTrBCwdliJAEaAIUAQoApRk6T1AEaAIUAQoAhSBOiFASbZOwNJhKQIUAYoARYAiQEn2Hr4HYrHYb2KMBZZlR8h/Z8+evXEPL4eKThGgCFAEXnQIUJK9R7d0eHi4AyE0JflCi4auGLqm+AEAKsBYi0Qi7ffosqjYFAGKAEXgRYUAJdl7dDuHh4efdvuC9/ka25ftJRi66lpbnO40De2H4XPnfuIeXRoVmyJAEaAIvGgQoCR7D27l0NDQazmOf6a599hoPvETs2Mtmpz+djQa/eA9uDwqMkWAIkAReNEgQEn2HtzK4ZGRF3yhNo/bF1zJKz7GcGlmtAvp6l+Gw+FfuweXSEWmCFAEKAIvCgQoyd5j2xiPx/+FE6Wjje39UzuJbhiasDRx8wQAeN40zZ+4//77L9xjS6XiUgQoAhSBex4BSrL30BbGYrF2hmHGGho7pkRfYLWY6Fom6U2uLLQaugYAwCsYoU9Eo9HPF+tHv6cIUAQoAhSB2iBASbY2OO7KKPF4/C8lX+g1vqb2xXInlNcTITm54tJ11Qswfgwh9OeDg4OXyh2HtqcIUAQoAhSB0hGgJFs6VnvaMh6PvxoyzJdbeo7dAhDiSoXRFdmtpFa9cmo1CAB+AWP8LMuyX9E0LenxeJInT54kai+9KAIUAYoARaAGCFCSrQGIuzHE8PDIsDfYEpT8jdmQnWrnJdptZn3ZZxqGgAHmAcYCIXAIACFaBUP479g0fzsajZ6vdi7anyJAEaAI/CgiQEn2Htj1oaGhXxRc7o81dh2arre4GCEGY8Qgw+CUzLo/s77cgDH+JwjAb4XD4Vi956fjUwQoAhSBFxMClGT3+W6OjIw0Y4xvBVp7ZwS3J73r4mIMU6uLLZm1ZT8A+DsIod+KRqPDuy4HnZAiQBGgCNyDCFCS3eebFovHP+32+N/kb+ma21NRN8k2vbYUYCD8NgDgvw8MDNCwoD3dFDo5RYAisN8RoCS7j3doZGTkjaZpfiPY0XvdJfpS+0JUjCEJC5LXE0Sz/RZC6Dej0ejFfSFblUJMTk66FxYWfhcwzGpkYODXqxyOdqcIUAQoAoCS7D6+CZ5//vmAYRhWVieO55Wm7qOX9424hGxXF1oza8sBgLGCMf5+NBp9676Rr0xBhoeHP4Ax+KRL8pmmrrKGriYMw3jt/fffv2PSjzKnoc0pAhSBHzEEKMnu0w0nBHvu3LnV8+fPv4ll2a8CAGDbgVPx/Sbu3OilSFYmCGMMhH8QDoe/uN/kLCRPPB6PQAj/iGH5g77GtjWX5EsRx6/k8nxjJrXSDhD6jWg0+sl7ZT1UTooARWB/IUBJdh/tx/Dw8CJCqMkhkhKNRt2XLl3qVhRlYq9IVk2nmkxkiACbUGponLTlW5mfOK2m1wWSTopzudKSN7Qkp1Zdpq56EABPAIQe26/hP5cvXxYURfl9COHPeoItSx5/07YEH7qqiKmVuYCmZHSA8a9GIpFnyNrj8fiPQwg/YRjG2++77769PSvfR/cvFYUiQBHYjgAl2X10V8RiMWeSCcwwzEmWZSd0XU/uhSa7cOdqGCFzyz3CCQJq6joyQmCztdhc8ifkJKdWPEpqzQcwmDdN/TMcxz0xMDBQdqaqemxPLBZ7mGivLC9Iwba+2yzH6zvNo6TXG1KJ+YBp6qsAA4nhOBfDcqyuKd+JhsMP1kNGOiZFgCLw4kCAkuw+2UebYCHDmCRWlZCqUzSW5bTm3mO75mA0P3Y5gnGW87HbE1iS06vNRCaGYXBz7/Hn58cuDxAttu3AqYIhPYSg5NSKqGVS7RDCGcMwPnTfffd9ay9gf+65546wPP9HDMuFfcHWNdHTsF6OHMmVuTbB5UnZJuWFO1fPAQi/AzD+35FI5MvljEXbUgQoAj8aCFCS3Sf7bJMsx7nSTT2Hr6XXFptZXlDSq0vtjR0Hb+y2mJta6jYCnRu9FHa+ABAibj94uuhZMTnnXF2Y6kW6qpqGzpPcyTzPP3b27NldWVssFvsYhPDjkr9p3hdqrZmJN7O61JRJJkSETA2Z5p+wLPtX+0Vj3+17hs5HEaAIUHPxvr4HnOZijndlmroPX90LgW0zcFPP4Ysc59qWy1hJrTesLkwcJrLxbvd6Y/vBm+XIqSkZSUmueuX0agACcMU0zT9HCP31/fffX5ZmWcqcw8PDb8AY/rEgipKvqSPB8S61lH7ltlEzSW8mmZC0TKoDQvh90zR/ZXBwcKjccWh7igBF4MWFANVk99l+Pv/88y8zDON7RFtkWFZr6T2+ayZiAsXC+NUwMjfOYXfD0UpJrwbk9VVJlVNtEMKbGOM/jUajn6p2W4h3tmmaz0KGjfhCrSsFC9xXO1FOf6Klry1M9hma4kYI/Vo0Gv2DYlM888wz7IEDB/44Go1+uFhb+j1FgCJwbyFASXaf7pdDq93xzLPW4hdyZqr1PLnjqak1fya1HtSVpAcAMIsxvogx/oVoNDpb7tzxePzDGOP/6fGHZjzBtgTDMKjcMaptbxqasDR1qx9g/AuRSOSJncaLD4/8E0bmA+R8OxqNkvN4elEEKAIvEgQoye7jjYzFYoQcoL+5Y9TtC1lJKaq9TF0TyVlvvnHWVuYPyyuLpCBASees1cpSqL+aSfkya8teVU5azlIY46ei0eh/LTZfLBZ7OWTZP+V5V6M31LYuiFKmWJ96fq/JaU9iduwYQui1991333edc8VisecxZJcgRvcbvHfd4CRZlOcPAgDGotHogXrKRcemCFAEdg8BSrK7h3XJM8ViMXJuyNsORq19J0ZgldrYwp0rYYTQ5n5DEGzrHXdJ3qUtySQ2JQy29NxweRtI2NCeXqah8cnEfKehqybSNRYA8K8AgE+Ew+EXcgiLxBZPMSwrewMtq7UsB1gtAEuTNwYMXWMwxh+NRqO/CyE0Y/H45zHk3qIJgQRiBM1kxTRvZBpc8iw5534+Go0Sr216UQQoAi8CBCjJ1mkTc2NeiSkQbhRb1zmO6z179uxCoamdpuLGroNXecEtVyKmrsoNK7Njh+6SK8AAMibAiPM1ti6nEguNm2E6VqyOy+NbCbb2jlUyV737KMnVgK7KvJJe82OMRxEyP62q6pMul+vdAMLfBxh7PI3tSz5/43i9ZSl1fGcYFIL8IoP1JgBg2uTcGdndnk3qQcbzpCdOQqSLCKGB++677/lS56DtKAIUgf2NACXZOu1PPB7XMcZcoeGtGq0QvqrA94T0yH9Mpc5HmpwOJWbH+jfHxynfQSuWlTE0UZInT9rzNoTa70iB2hWCrxOcW4YlhCunVtyqnO7gBHHB5XLhdHKtNdTSMyV4G+Z3Q4Ziczjwz2JP+rCmKpmsa5sZ2y3P97NGKkTamKbpr4endTGZd/P7H/zgByFBEL4KIfwv4XD4B7s5N52LIrCbCFCSrRPa8Xj8QYwxyeELOUHMNHUdssJx8plniYbrSPyQ3ROW49XmnqOXKhFxdW7itJJZFzKeriuIcW3RhL3J21a+YdYlpps7D12rZPz90AeZOsewvGHH7lb6QlKPtRQi2WJzkb2BEE5FIpHuYm3v5e/j8ThxbmuzXwIBAOhrX/ua8IlPfGLXndTuZRyp7PsfAUqyNdyjH/7wh30cxxEHF6JB2thu8Q52kCzRVCEvSuuNHQeycabkHHJx4sYZhmHMlr4TFZsNbVNlyncwb6II62HOMGZrFXPUELqqhpq9fZEQ066EHJUq6OLE9bBp6NY9UGgP8o3lTd05C7DJYoyXIYTuaDTqLXXOe63d8PCwhhAivgf2Rb2r77VNpPIWRYCSbFGIijeIx+PvBgB8HmOcDb/gBEFu6jpyJV9vZ9akQFvfDVHy1szJaG1x+riSWpXss1bbTJwrhzc5GiEWad7lTjZ27n5GqeKolt5ir8KOiklY7EWnUH9vcnQAgLv3EoQwGolEimbVKibPfvs+FosRgiXJTnDKd2DEmxwj6zai0SgpOkEvisCLAgFKslVuY46DkzUay3Fqc8+xHc28JOsRw7FGvoxKlYpU6By28MN8w2wcaO+6KboDNc+2VOk6yu1HSJZosq39J/cVEVVKsnf1OsR4U4R4ACEep8ZXLkT7sv3Q0NABCOFtACAh2WGAs+tNv5g1+H25GVSouiFASbZKaDdjWckoqwCAP4MQ/j8YYxJuQi7sb+u67ZYCa1VOU1J3Q1fdS5M3T5DGpZgoeWWl36UnLGcbf0vXLbd3d+QsaTFlNNpPmixCpsAwrJWK0iZZRWy7ZfCeiu4BT3riBES624YDQkjOLF8WiUR+WAZE+7Lp+fPnT7Ase5kIJ0ud101WTHmSd85AYJIXildEo9F/25eCU6EoAmUgQEm2DLBKaRqLxT4LAPiAs+1uOuSszN05o2ZSfNrTfwEzjFFMZsaU/VJm5hBpt5tyFpOrnO83NFkGtPaf2BNNlhDr0sSNU86ygESztt6yMAaa0DShufwVl/mDyOQEbbWVM9MBEuazMSz+u8HBwbeVg9N+bLvpxzCGGV5Oe3qs4xVvanQAI7Q2ODhovQDSiyJwLyNASbbGu3f+/Pl+lmVvk9SA0Wi00zInQ4i9gZZpb7C5ruElyeXZo5n1hJc82BV3xw2Dc5d01gux4fKkxk/dq0RLSJZlWVJ+r2DJvRpvc3Y4TU4HE7NjzgxNlkObc75SrAqly4fh5tklmeNKNBrNhmOVPsb+aTk0NDQAIRzWhMCM5mq0Umi6M7MHWSQ3RCMR2yK0fwSmklAEykSAkmyZgJXbfGhoKA4hJOXhtl3VeveuLc8eUZIrPoxyoh4Yxkx5+sv2TN4M7dnVXMnl4pmv/U4hPAvjV88g0+QaQm0TUqBpqRbzOcewTcKIE1IZd/f1Wo9faDxv8nYYYwwHBwfv6d9wLBYjBTBO5jro+VKjZH0j0WjU8hugF0XgXkXgnv6B3iugX7hw4X5d16+RN3aMcQ/xjdqUHbb2HXseMpxZ7lrWl2aOyskVorVmK6unPX0vYIYtaiIuNJdLTRzktZUAL7qTe1HDtlwM7Pb5zmTT64lgcmkmNwdwzV8gFu5cDRMzsSq2jeq8pyb5pUvBQUpPHWOQKt3rBQVisdgtjPHBdMOhLaZ+b3LsHAAIRqNRqs2WckPQNvsWAUqye7A1sViMmHG9xKuy7cDJskycuir7lqdvH7HFrq0pEgA7tIckB2BZ1mje5VJ75W7H4vjVU6ZpujhOwE09R7JY2sQbaO2bMAxFSiXmm8Dm+4go+VYCbb2j5c5VqL1d4L5QuFSt5nGOw2mpgKjOH2QY5j+Ew+E/q8ccuzHm8PDwSxFC3zd475IitmZTYvJ6MuRSFvoxxvfRury7sRN0jnohQEm2XsjuMG48Hp/GGHcQBxZvkJzVtswnZu8c1OS0n2EZs6X3+IUiD3SQ8vWPMAhxiOG2FVWvdkkOorWGcnu8q/7WPnLOvK8uU9P4xakbZ4hQTqctUqN2dX7qYG5YjzOXMC+4Mo1dh60sXNVeu02ynvTkCYg0y+M4Go3e87/heDyOiEEmj8mYhC9NRCIROz1otVtF+1MEdh2Be/4HuuuI1WjCWCxGys25NoeznWW2OM3wopRkWQGrcrKhuefIxUxyrTW1PNNCtMyU7+BIjUQpPAwyBW96/PRGGuX9531sqLK4NH3b6fhjm86t+9obaF71hlq3vRzUMuQnS9yQNVLevoIvR7XaKwbpopSeIGvGDMN8KhwO/3Ktxt6rceLx+AWM8Zlcq4xbnjnEGrKPmoz3amfovLVAgJJsLVCsYgyHVrsejUb9ZKjNUnc7Zb3ZknS+iulL6uqWZ86whmwlQ2hs6bnB74MyeIsT106ZhmG9pATb+u6szN3psxdTLDFFci3Rk16eafY3tt9x+6srjlB1womSdmBrI0dGqAzG+E8GBwd/tYJh9k2XeDxukGxp+cztxMGLYZiRcDhMHaD2zY5RQcpBgJJsOWjtctuhoaF/hBCSWqmnieaiuhrHXepyb8bTfQUx+Quv11PE/eR9bGujbn9T0t/YdoOs2zR1gWX5ksznpH+1+aHJnLYctT4bL7aPUmbacnwCGJPf8A8YhjF0Xf/jUCj0d2tra/8DY2wODg7+UrFx4vG4VREoEolIxdrW4vuhoaHvMQzzEoxxGgBAYocts77iaryj8/5E7hyEZEkCjkgkUrCiVS3komNQBOqFACXZeiFbw3FtzRYznJ729G4pWF7DaYoO5UnfCUNkQinQNNMQarNiGnf7Wpq+ecxQVUIIsJrYWFsDrTYBx15osjbmzvJ4xImOlCx27geEcCUSiYTOnz/f4CydF4vFHsEYfxhC6AEAnNvscysajZKi8TW/RkZGXmua5rMksdhmDDGGkEGYyAsZlPIUNrP70nfOYmRyL4az55oDSwe8JxCgJHtPbJNlQibBsHC3NaY8moVltrPJKTE1elTTMuRhTT4ry1O6XOgTM2MHNSUdsPqRqjtV5Cq2q+RUS7KL41fDpmmSWoUgNwyl3PVV0l5UF7pNKGZ0oWGZ9CfWBrKmxfGrZ03T5DDGtyGEBzfPcE+Gw+Grdr5t4mxNElORYhaGppGKPzV5HgwNDb0XQvjHAICGzTVZ4yLIyxnvRlanUi+XutjJa+ut93qoUqnrpe1efAjU5Ef14oNl/60oHo+vYYwb9pJkienOWcLP+QB1IsawrN7Se7ymGvfK/ES/LqeCpCwgK4glZbIqtovOsoOhjr5rgujdVky92Bjke+c4uxnGs002hBhvemyAkKyylgitLs9YXrksy+kImZa5dTOsGvpbO0eV9bWQN9g6w4tu2bEGkgAib/KUUrAgbeLxuE7ydzMspxP/LIwQQ85cDaEhrbiay65f7EuNDiCEHh0cHPxCqTLQdhSB/YIAJdn9shNF5LALEezVQ9wmWIZhiKkPmKZh3Tsut1cPtvdZhJpaXTyQXlkIOvJjbFmVL9g24Qk2VZTDd2H86lmSuUnyNyUbNs9gq9269eW5I/L6ss+Wt6nn8MVKqyLZJKWKTWP5zharlbW0/oghKRcLaeeLE9dPAYxYl6dhuaGpcyp3TDtzFoRQwRgfiEajJR0JvPDCC6/UNO0zEMJOjLFEzlgDbX3XXW4POXe1rvmxywObzk1l55f2JkfPAYAno9EoDeUp7UagrfYRApRk99Fm7CTKpolvV72KnfJ41m+VXBg9vZ7oTq8sNBMy3tCeEECbpNzUffAyx7tJ+FLZFyEBCCGsR0m7zXJ5qLX/ZEWhUXt5NnsXyJ1JthTAl6ZHjxpqxgshnIlEIp3F+pw/f/4VLMv+y0a6ZpKmG4JAY8eYqyG4LfsVwVgXguuqK3Sz2LjO772psXMQYByJRF505f7KwYG2vTcRoCR7j+zbhiYLgVV3cw8uctZXLDRmJ7FMQxcWJ66frsSjV06uBOXUaiNJ1gEZFrT2HS9bGyoGWbWxsy8WkrW0zjtXzmGEWIZhVkzT/ExuiNDQ0NDRwcFBK09zPB5XAGTY1r7CCVRIO9sSobhbpg3ON1dsP5zfS+mpowxSvbU6My5nbtqWIlAtApRkq0Vwl/rvleMTp6d8ojJvpXGs1knIeXbpPNtlWdZszpPlCiGdW566fcI0DEuDIabqhqaOGdEbKOshXcoW2Y5Qla5zdW78lJJJunQhMKNuVpMpZd5atoHI4DzpibNtB6ovXr84ce2MjTuEcPKrX/1q35vf/OZLEMLDGGNyvruZOKW01KC2I5YqtszpvG+6nHWTQgjkXJZhmIfD4fDT5fSlbSkCe40AJdm93oES54/H4yMY43O77fi0GRsLWvtOXIAl1KfdaTmJ6dvnNFW2Er4TwsQYQgwQsSdb3RqaW+9IvmbLS9Y+w7M+b2xddjc0TWwWLC8RsfKbpVYX+lOJhZAgutdDHQfLMmkqqfXW1YWJLtndfs3kpOxZZPlSVN6jliRrS5GYvn1MU2XLe5wQqyBKyVDHgZvLU7eOkw9CHX03Si1wsXDnyjmEEItZAaWl7rLM8t702FmA0Hw0Gu2qHCHakyKw+whQkt19zCuaMR6P/xvG+GW7SbKe5O0BaPEhg1v6TtTFTO3QbrfgwjAs5t2SFmztvVQRYBV2quRsVlMygeTybJ+uyqzJeRKyu22swumr6gYR4jzpOzXRZJ2CrC/NdvCSO+2WAmvlCLg0deMECQ1y9MmmDZVdTQum4J8sdTxPevwMCxAIh8M7ZUIrdTjajiKwawhQkt01qKufiDg/mZw3Ibtbd+UhXu05bLEVz49dPkdCPXShIa0JwXEMWNUjj5+DpgkDTe2jYkPjrpWOs2Vdmrp1ztAUch5ptPSd2DEXsbPggN1/N1+CtuGLTN6bGT9TTfxwsT0r53vrBYpYLCCPoakytnPUpm9BWefqrKF63PLUMYTQj913330/KEcO2pYisJcIUJLdS/TLmHtkZORx0zTfowuBWdXVOFNG14qaujOzB1gzE3RLPtXfVh9tslBKwr1O37hw50oYIQQ5nleauo9ezgfg4sS1sGlshDFZDtQMZ2iu4LTObSSF2IuLQYYgZSZO7weStcOBUr4DIwBAkkil6stLzmUhfC4cDr+06sHoABSBXUKAkuwuAV3NNHaGHjLGbmlKdj1PUfLqgbaNONhaXvNjV85ijDjMCSjt3no+J2bmTnNmWiBnsJWG1FQrq9OM3dh58Abvcm9JgLE/vIm3rpI1VY87M3WsWge1arEj/Ql+GEKQ9h4oS2PdaW5SqJ7FmjsSidBC7rXYJDrGriBASXZXYK5skng8/iDG+It2vlfEiSmD9axoQqCihA7lSkE0ynqcx86NXiJ1Qi3zYcqX/yHsTY0PAGwwLX0nRhiGqYkmZK9fJ2eoK3O9ofYD28zBiZnRs6GOjc+dRNvUdei6IicbWYYz1han2zbH2rO45Xx7uZearJxcblxbnO11eI0DzLqNtNRRs/J/DFLdUnrqBADgI9Fo9HfKvZ9pe4rAXiBASXYvUC9hzhdeeKFL07RCjiFZB5J6arZWAgqGqSpHcO5SF8evnjFN0wrJ2Ul226u5HlqZ8yyVOFhhjGCgpXfC5fEu2sRKYoI3M0FlsSafAYZTsKmLmOWVtNST15RcwvbWpclekaxtGs4uimGxIjRPGLxnqdYL3fQTMGlVnlojS8erFwKUZOuFbA3GjcViCwCAZltrghD+Kcb45XblFAwgTtcxOUWtNVkS97pw5/rZQmZE1lA8bnn6qFMbqjXJLkxcDyNDh4gX1xld8TnnIlo7OYu1Y0DtqkeOnM37SnPNvcX2kGQtB6eUp78uHujOdUrp8TMMMkhVno10YvSiCOxzBCjJ7uMN2ixmbZ0/YYy/MTg4+KZYLKYDADgAGEzqmpAQUwShyUIIUt7+52u1HEFbaRHURLe7IZj2N3WWndQ9nxy2lii7WidMwbvF5C0q8z2cnrJeKBiWJfVhsqkYvcHmaW+wtSYJKGwZMp7ei4jhNAZpokte6GGRSgjX0l7zVdMRlfk+RWy9Uyt86zHOXpJsrc9fd8Jn08pxOxqNHqoHjnRMikAtEaAkW0s0azjWxYsXW1VVtYgFQmiZx4aHhycQQt0kfcPnJ6ThhzqV8IoO9XaXaTkJbXhyVn950hOnINJd1aRRzJViZW7soJpJB1ShMaG7AttCkNzyzCHWkP25mqtNiizLGvmyQpWzWttr2OTda7LYccvZlzeSISEz378X5erKWcNObfeCZA1VEZemb50EDIdTnt66a7Jk/d7UnbMAmzgajdKY2VrdPHScuiFASbZu0FY/cCwWexkA4H0AgA9ujmbVLX1s0pP12HQxgHu4K3NWcbfeNjjvarWzepO3LaekWhIskWlu7PIACXTZ6RzWlxqNNHYevM4JYspex9LUzQHLvLthxrWuUk3INkFLgeY1eW3Jb5+x7lUlo2r3plj/vSBZXZHdyzO3T+wmyTJIF6T0xGkI4WcjkcjPFcOFfk8R2EsEKMnuJfolzB2LxQjh2GntwIrOpL8yK2bNtyd8Rvd9Qa3F5L0JWaw+SUW9ElDMjV4eILVFdybZsXBj54EbTpK1IUquLBzMrC4FSEUfS5tpbJn0+lvImXXBK0+yiH19plrC7bBjk70gWesFiiSd2MXwMmv/k7dJRSZi4aGVeaq9cWj/uiJASbau8FY++MjIyKdM0/wle4TPTUh54w37JKPtgSat0+CkZcXdXtWZISkpZtUbddSIrXwFW3vO3r5oVfGplGTt0TLria71pZnWzb+xy9OwEmztyZsBK5dkVTE0rvPBmnu81gqjasbxZCYHoKnV3AJRikwb3sUQFgrHKmWMctt4UndOQ2wKtDJPucjR9ruNACXZ3Ua8hPmGhoZeyzDMZzDGfcQXZ17h1r+5IGw5Q7SHIeeybhbBakN5XOpSJ6+ttdXaTGzLeTcD0MGCyQl8qcKarBM2U9fEpambJx3F4e0wGyx5AooiJ0WEzI17m2HMlKd2DmElbN+uN/Gm74TB5nrrtX87LYposogTUCYnqUi9gSCVeTDGz0ejUUuTphdFYD8iQEl2j3dlaGhocHBwcMgWIx6PJzDGwazmZkL1mWn3jkny39+TiWDImACmEOoAACAASURBVOkqvIvtMJXm3qMXWZbXag1LKSbFUknWKdvq/PgpJZ105ZM37em9QNId1not+2k8O56YvIz9x68uX/rUW5pO16LUXalrXFue6ZDXEu2VlLArdY5C7aTMzGHGlF3RaFSsdizanyJQLwQoydYL2RLGtWvEkgek2+1ukGU5m7pPRYwOIYZPTrqLZsx5e7sy4OfRjuedxcSp11ksmXd58sYJXdfcmOFx2tNT0AO1EpJ1rktX5Ybl6duHrc+It7W3Nt7WxbDbq+89malz0FTZ6aSZ/uW/W77W3sAKu02yydW5tnRiqVN2t98xOWnX8zYTbRYh9P3BwcFX7NU+0HkpAjshQEl2j+6PWCz2OADgPXeLX28I8s158dq8ypRVj/QNrerZNpfJqa7mcV1oqOjMsV4kuzR165ihKZbjVjGTtjc5Ggl19I0JoidRzbZsas1Yljqumaw7U81Y+7mvrcW+84kFywS/FySrKOve1ZmJoxhAkC6QIrOeGBI/AggwpPmM64kyHbsaBCjJVoNeBX1jsdhTAIB32V2JQ9NBjxE4E9A6vzwtVZSm72WN6rHDHtNDDibTvsJnnoXEtU3Fbn9j0t/YfqOCZRXsUoqZ2O5MSCPY1jfukrwVvSjY4yyOXwub5t0KOS/WkJ39QLIE81LO22t5T20ZCyPGctgD4LFoNPozdZuHDkwRqBABSrIVAldpt1gsNgUA6AQA4vOrwvjVdbYmJrZ3dCgDDVxlJuN65gneqCnK4pSnr2iiAl9qNOxv7poRvf6qszsll+cOpdeW/Jv79KIL3bGdnRZlrHz4S4vWy9leaLJ7TrIAAFKdh0EqOZul4TyVPphov7ohQEm2btAWHtguXfe1efHyksootRDhkW4lLMDKvIxtTbbUJA+lymvnKgacy0y5u4qmfLSzPrk9Adnf2nWl1Hl2amdnebLJFgPOSPt6a166rxayljqGJzUaIfk0Seavh55YyL687BXJri/NdmXWl1tNTtJld/ueYEteFDHG/zA4OPj6UnGk7SgCu4EAJdndQDlnjuHh4XGEUA/5WDEBmFc5ucdtuAEE4J+WXBMTGbbsUnYDfv3gWb8ewKwgp6XusgiqXprs/NhlEmLBlFO4u0GZPOFtCKUlf9N4rbYmMTN2VlPSnD1esbPhWs1br3E2CQU8+OTilnCok6289xOvCx3di6LtVhgPZEDG21+z+rHl4OeWZw9wprIQiYSPldOPtqUI1BsBSrL1RjjP+LFY7E8AAL9IvkKY5DDc2uipKemCikDZoSfv685EyFjlkIhNsLzgQo1dh2uS+9heTSVndd7M5PGGQChTS5Il8iQT84c43pVOJuaa16V7W5Pd3DP8TocWS9bY5GH5//22pjO7GcJD5l1fnu3IrC23mwyP5R28x+v9U9tMprIcjUbtZCX1npKOTxEoigAl2aIQ1a+BHcJjkyJrypI7M3PcxAx+fFIseoaZK9lb25VzIR6x5ZJsvRIYIFPnFsavn9XE1lmN986UgqQnPX7KH2xK1ppkLatBaq11fXm29V4mWU5b7xTVxbahCW35d7+3uiXDV0iC3Kff3nJ2t0l2YfzqWWSanOxuHzc5qSqntVLukUJtpMzUEQZpXlVR/C972cuy4XDVjEn7UgSqRYCSbLUIVtA/FovNG4bxQZZl/xRC2OWsCmOfjxJP4a/MSddWNVByOA/ZzEetxBS8kvZuLyjuluf7WSMVskSGEGHIGBCZAoCwpoXZbUjsM1lFbJk2eF9Jzkz1JNm1hakTcmrVXepLiKglDnH6WgMgxQlKdN6q4HYoq4uUmT7HmAprh+04OzeIkPvsTzWfrfXZejEBEzNjhzUl3WAIvoziarlarH09v/elx84CjC9FIhFS6IJeFIE9R4CS7B5sge34RKzFJPFfRuq+glhBtkUR1YVuTku2kFqxj03mz1lcSOyf7pDDXg5DABkzt74sIXCMSeW8jVq09hj1fChveBeXXtDbmxodEKUGLdDaXVE4007baZq6sDh+/XQhkmUNOQQhAAbrtuJ0HdmUHMNCYt/HBhANDmUsb9ZSSbsWt1pu2I5zTK/AMn/1zsaBeu6nc7615dkOeW25nXyGWR6lpZ6aHjdUgpegJVoFdaULAPBINBol4XL0ogjsKQKUZPcA/ng8/uMY429ZU0PWSHn7tmV18iZHrao1TvEKFQnIXcIjXUpYYBDMzXpEHtDkDPjzk1L8wS51QGJMe3zMcrzW3HN0x/SNlUBVTpwsGd+TmTzR4A/InkBL3qT/lcjg7LMwcd2KoSXeubnkKKUnzzHYYFJSzyWPOnsCGir7NzPui0kDao90KWcFBmWdp7bKQQofHKi7w4/tVZxPiyXySBxgHnuoZVdIVk4vB9fmZw+QeRHD4Yyn53kA4EaJpD2+vOnxUwAZyWg02rzHotDpKQLEn5Vee4HApja7Y/ymOzN7gEWyH2BM9gmuGoz5tzNi0VAYsp73dmciLASAmJ3ti/yJAYCPbVb08XHI844O7Sh0aLUW7zOs0dp3vGg6x1JwIySLIQRpb2kk5E2NDbjckhls66tLKIizMo8mNi9pfIPlxcyaSkDMTB9M6ty6x8WILNKsguD5XmxCAhIZCMFPtMgnGAigybhM2VM8RKkUvHZqs+FVDNCDTy7k1Rh5DjBP7hLJbrw8QSCLzdNmiUcB1a6/5P4bCSoGIIRXI5HIiZL70YYUgTogQEm2DqAWGpIQ62blmL+FEL4Nsa5URuq6XooInvVbVqm4UrXZfo/ZdsxrtqwaUO1ymR43i6EJAL6yzq2NrPG3c+d8S5tyLiQQR+cNM3JL34kRhmGq0kzsEJ5yTImiPN/nEaAn2NZbc3MxWZedcpG8Szg1WVGeO57IKMY35lw3H+2RwyRV30SGTfzjkqugRv3+nkw4d5xS9rKSNoK20i+oiZBiAuO9X1zI+wL0/ojv0JuOuf27YS4mOBqsR1WktppbPyrBJ7ePJz1xksGGkEgkQq973evWajEmHYMiUAkClGQrQa2CPkNDQ5iQ5F21cvuZ6Y5azGat10LaVQUibevSLZlNr25Se4mUnkDTjC/UNlvpuHb4TjnnsWQuQVtpkVC6van7cE00aaf8yaXpY+n1FZJH2ToLBxyPUu6eERapfjE9deipael5zQSmj8NCiDfd4zK348P5dS1af6dohDK+vosIsDWvXJSLPdFkry8Y6x/7h8TNfPvy7LtbrJJv9SbZhTtXziFUnhd7pfdRNf28ydEwxkgeHBy0cmfTiyKwFwhQkt0F1GOxGMlC823iH7Lh4MSYGamz7BzBtufxtSSX/OGKUHb/nZb63m4lzMKsMxRuO3Cq7BAie/x0cqEpubjQS/4u1ymI09ZCorrUX4wo5ORKZ3p9uaWp81DJzja2qZhYA0h5QFtek5XkhKwYX58Ty8L0/T2ydW6e8h4YBhA6LfN1uasIyWZ0YDz6zHZN9qmHm8McsWHvAskujl89bZqmYLKSJkvtF+uy2BoMyuvrQZe61AcB+HokEnlrDYakQ1AEykaAkmzZkJXfwfYmLpdwnDO5tOUOXl21PDmvJl2r51fYbSbf8iW728NBOjjY1nfTJXkrjjPMplOsgGSJRN7UaKSl99hFhsmvHSbmx09r6aR1ZipKXj1Qwvmt7VlMXnQ+NyFZLxAPdsmnJAZbtWif3NRiS8XQNhWXq6mXOn6+dqRKETllz+f4ZGuxu0GyZA7boS3t7b9AQsGqWVc9+0rpqaMM1sR4LCZ96EMf0us5Fx2bIpAPAUqydbwvYrEYefiwZArE8ErGsz12tdTpLacXAIBssuiZaVde7a3NZTb2SGbjcztouY92yxGidJGxcjffE2ya9gXbSopnLSR3OjHXnlxd6iDfK66WWUPwlZSEwjmeLz024PYGMgBgKLg9axAwiHhKQwjR+tJcj2loUPT6F+TkipXZp9RC805N1p7vfeRcdcPjuqDm/vZ29bifN92bfQh0G17Zm6FJDECClBw7DVgWp6TihRBK3fPcdt70eBggAxYiWYQBJo5YxawAlc7v7KesJUKryzP9mGFxuoTiD5XMKSnThxldaZDdHddNzp2qZIzNl7YwBMCMRCK0gEClINJ+FSNASbZi6HbuGIvFJgAA3URzkt2d101OLDmpRH4t5rZl3vz7BXFsRmG21Vt9aVA/etSne+2+GDB4SoHqdxdclgPRQx1K2M3djY3drGNrN4e1yvpkn8UaQiCpuBrLMr/awngyEycgqVhv6m4S1Wt9vmmMxRiBps6DlzmXW5FTa/61hclD5GuW5XBz77GiJm7b8cnWZott/+talIOdIgo42xFvaQSFrEexV54YAIZuEW811opisghq4pCgrfhXZKz+/JcWsw5HkU6++SMPBHuuLJgrJ1rY4G6QLJF1eerGCV3T3ElP/wis0kmONRWvOzN9xNrqDW/67NaTj6opV8iYukvKTJwEAExHo1Hym6QXRWDXEKAkWyeo4/H4RYzxKeuhwQhy2lNe0v5csaChiR558uSkwsvfXeC3FAB4X7ccYbJHgpYTsaU957tIeE7Sczcu1y6ZRtqSh3N6bbFPSa0H/K3d1zhOKLtCULlxsTvB70nfOQORuUX78Dd3zrl9wWlnv6yTleNDlygZvqaOUU4Qs2ZvR53ZrMm42Pa/tyczwALA5CNP3ki1uuR5kvjAfg2AitR+x2ClmpQvzCdbvuIA/+9rg2dPtPJcUsG6T4T8bpEskW8jRIsFaW9fxXHCnuTtSP4HEYMVBIBIYr6rfIGR5OkjjKH4GIb52XA4/JfF9p1+TxGoFQKUZGuFZJ5xhoeHP4AQ+gvyUq6IbbcM3lNVKMHGAxaCb80LY29oVfudzsqIF1IZsTsbDsTpmQaDl9bt0B+neEQTs7I+IbPg/nuDzSveYOtoOfAsTl4/aeq6WM0DUVASrYKx2mHHBtvkT/6fWV/ukhoaST3ebZemymJi+vYJogU5vbjdDf4lf1O3FQtrEQLG4LFJT8mEUChMx5seC1vpFgEAfz0tvaAiaL67Oz1Q73Jvm8cG+EFHcYCnH26OMAy0zmrJ2ewuk2yY6JzVJOMQ1sdOT8pQ/96S61q+vX13jzbAAyPvi04596eUmTpK4p8jkYh1Dk8visBuIEBJdhdQjsViGknttFHyrfLL9i52jGAZUXXeP6eKTXnPPrPnhRud8h3FWiZOKTN1nMG6CyBkacEsx2GOdxmGoXOEkF2SL+kNtoySc9FCK7DjYhWhcdlwBbYkry+2aogMzpMeP+tsV6oJOHfsudFLJG/tlmxZDMNghBDUMTCfmJRKSuhBxrUdwpyarO2A5HSiGvCbrWf9ahdi3UZG6qh5+JG9xty0iuRF65lHrNAd/NBTC8NPP7zrJBvBAIJ0FRmvPMnR8I0Uk/lBIj/JvrdHCbOgslrJufcGCeshP4NoNLrl/ih2f9LvKQKVIkBJtlLkyuh34cKFD+i6/tlandcRsi3njMpOx2fPL6iJNkFb6dCFwBzJcawKwXl7OS51uYNTV9od2mCWmFmWxc29xwuee9pmW1lsHzN5adu5cSHIRG2hm1OTLeR7TnAhty+06vE3VpxW0TZZk1Cdkw1mT9SvNdsRNqUm87BlfbQnQ5xmIOa8GkIAMDgtkJSMGED02IQ7+9K0W4kpcs3Fv/3joTNHmjieaLG7mVbRxqfcjF757gFh/c7J2Aq7eiPFbTkGsNse9ZqdLw2pbSbnScjutorvCzIeY+iCJE+chhASR6gCaTLL+HHTphSBIghQkt2FWyQej69jjH21ItlyRba1n3LmJ0UKMIJYdTdb5lkpPX2MQYpH9PiVQsn7N4oBsDhVprepraHXysxpPfgBgx+buFsu0NZIyyVZpzbrwH3bme5ukKxtov74d1avXZnXLEe6xx9qCYscsDyON6rw7G6pu3ILQFRCsqQPqS5FnOEyUs8lxHCaOzN9iDUVP9HgNVfjlCYEFnb6XZDCExiQUCMGA4gxRIZIibbcJwltXwkClGQrQa2MPvF4fA5j3FqoEEAZQ1Xc1KWvd/PKYovOeZdUd6t1PlnJJaWnjjFI9UCGAa19J7ada86PXQ5jyICdSHaTUO3pyf2X1ZRrSrIYgscm3VkZf7pTCXtZBCshWSJsgDfFVZ1V3AJkZA1vM5nvCskmLQ/zLcXav/Cu5rCLhfD2spF6fCQ59YnXBo9xgoiaukpP0lHJveDUZMm/y3mBy51PWL9zKrbCrhTSZLMkW1xQrLjabiPOJbNGMsgggzdZKelS5g7t8KD7XjQafWXxoWkLikBlCFCSrQy3knsNDQ3NQwhbqnkIlTxZgYa55uJqxyOacbCtb9wlebcU6J4bvWwlS1BdLXO64Mua/gRtpU1QE5258xKT9GYuZ0DOTFv6ThQNwdlJ9sTU7SOaJvtImxsZLvX9JSHrCNbhRqHXNyv95LsnZzwjmrGdKDmImMNeHLiaZEs2ddvy1JtkXerqAV5bDo4u6+lf/daK5SB0qs0V/Phr/KQSjkW87Q2s8Km3NJ4m3xUz7Vd7DzhItqr8zbYVY1zm5X9a3Oo175TRxQLukMfsOOrTG90QQA5i+MNVYXZOZdbe1qZuK3KRuz7yJpcxGSxADHlS6dFxQQi/EIlE3lsrTOg4FIEt9xeFo74IDA8P/zZC6KNpT98LmGH3JOPMprm4qlhDGyVPcnQAAszkap3L07eO6qriRayAZHfnRWcWIG9qNLzpLQwEl2iGOg9tcTxSkmttos9fVRIMIt+G9zAkBJv8wTK/LUb3x1uU0+0iIpmisubeZgG5owG9a0xhl18S0CwSxgDgxzazQpV6d7yvJzPAAMBoYtOSxvu3WQsYU3VL8vSxtNRzETNc2RmS8pW5+7FesfU/v7yBhBBlSfYPfiJ0mmeteC7IsCxu2eEMvdS17dRuwzRfmeOTM4tZpRYGItsrm4xjByTNQ17Yvp9wzfp57GmXkMQixMxoXPq4x/A5rRqNAvaZAKBVDabf3S2f5SEwU6lk0wMPPFBxwotaYEnHeHEiQDXZOu/rXp/Hkijdjdq01Zn0bJjseEMAIXC5PTopSbc4cf2UaeiufJ61nszUMRfPsqGOA3WpqmPLlfVsxgz+4uTds9jc7c09m3XmMHa2JYUCSKrFcm4PMhZmOJz29A6zhuwV1YU+AwETYlMkLyak9GDOhVVXy7gu+Ky4WkFdaRG0hBV3axGxqfPkHNKZnMuZ7Yl4FRPvYvszoskSkn3ki4sklMfSMMlYTZ0Hb3Iu93o5aym1rUWyFRRsd3rKPzUtXVBNUPaLh1PGzX0sOf7Z2fd9PfI5BgI9GonYWb1KXT5tRxEoigAl2aIQVdcgFosRk+WRvdJkbWcZRWq+bbANq9Wt5m5vT3r8NMQmb2uomhBc0VyhLXG1Xnn6MM8Cd2PnobrUhnWuxfZsLqYRvTyknjjkzaZItIZQTAYzDADCRnRS9jdBqvKoJjBLxYw86BFkMMQIIgCxbgJwNcWtzKns6rzCrJBx3tejhInfTaF6AlbB300JiFaOAAYGBkBgNgT76jV5+ukL6YX3DEhH3nBE8hD53vPFBetlwEmy5O+nHm4Z4BjA1CqbVy4OSxPXTxqGLmakvkuIZdVScHIpiXZeX7HSbpL1PTPrvigboKoKRm9pV8418ohVTUZ/alos+17jIGbe0y2fI8aQaDRqyUYvikCtEKAkWyskdxinlALt9RJDkmfPMEaGr9eZsBVSAlmc9m7N2SvJswcEaDSEOg9eKZTov5ZrLpVkyZwuBvA/3amc5iAAawZAfzsjZjVWSxtlOQxNA5JcwDvlNM6V3+oLGHxhjV17Pk/N3nzrJbmkSQUfu45voZcEjoHMu7vSA5anGMbZlINOzTaXZMl8tkZbK6cyew2zty9ZWrTBeWXF3bolA1mhfSU1XiHaSFby9IxUFbm6OSAc9ehdZ/xmgNmsgVzsBWun++1cwGg+59e7IAAvRCIRy/JDL4pALRCgJFsLFIuMMTQ0dBNCeKheRJdvetaUQ+7MjHXGSC4r9IHlS9I2yoMEMd7k2EBG6ryNWNHSlN3yXD+P1UCove8mJ4h1P+eyq/4Qzch59lbeOjZab5CsgKCpWe4xj01I5WSHypbP+35CmL2R4koujmCbrcmcT027X9BMmPf83i7w8J6nF0ZUw6qLm73ykewXH24ZYBnA+Bpblj3+lrIShBTCz36h0YWGlOpqzjqXFcPbNhFXQ4avbNSO90umlGMJwLMqs/btebGqylRvaFUPtblMP4TwQiQSIZotvSgCVSNASbZqCIsPEIvFyPlYXHM1TWiCf7F4j+pb2GZikxPXZHfnrepHLDwCcWzSXY3LKu8fF5WFHt5MN4Xa+sZ4UbJMpPW+7OQT1ZztZUvXkUpHUuctEod5O80tfm9ZIIUeSr7s5BWkQ26sbrFBiBPWm9qUEySW83OOGN/cfhsaM9iSWpG0yUey5HOSarHS7Fm5c9tn3zrvy6hiy9Via3J+b6cFrfRF6FXN2slet2FpwkSbxxBiYm34wqRUVSY1p4zv6JBPNnCYxNBORiKRnnLWR9tSBPIhQEl2l+4LYjKGDGMkPf11S7m39YG2UXt0N7Rn8vA0OEnDjLDMa6vtwdaeSZenYcfkALWEPV/yiVLHDwmm+NY2lVRoIQ9toLrbxzDEwJ2e7U+brPrstCtb7abUMUm7R7vTJHkCKFdrs8l+1WBMpxnbOffrW9QzHaLJ52qzO5Esx3GoqefYCCmSQAiqoaljWvT6s5m+SllbtsIS61UUqbUsRzZbi/3uojA+KXNbQr9KmbvLbTa9tlntJW3LxbSU8e02JNeiVf5w4wj8iWg0+p5y+tO2FIFcBCjJ7tI9UYvC7eWIWsuwnZ3mFbREm6CudBKtDQIMG5rb5yRfKG96vGLyO3MOl3OGaGtX6waDvjQjlqXV2GZa1dW0qAt+S2t1Z2bPsGaGf3JSHNEwUzBXc7H1WBpnGSbsIz6j80aSmy6WneptHcq5AIfY3LqyO5KsICJDU7bk63V5fGqwtTfvS4ShyA0rC+OHTMPY8owwGR7Lnp6y45ntesjlmN9tfN/fo4TB5rnrDxKu29dTbM0c+Ow5HmhS+3vdRohoxySGi3iLkTBuTdM8L33pS+Vie02/pwgUQoCS7C7dGyMjI/+XaZr/DCFjJr39ZYWGlCuimJk5w5ly3ZydtmrMG1mIiLssxpiRAqHZhlBHyWeRzrFssy/5LNDccVv0hUp6mC5P3zyqq6oXYQg+78jytBNuEoe5BztkqyCBU9vnjFS7KC90ECtAtRqTTZaxNWHp0hqXN9NWkDd9b2rTD7MbEAIdM5iHCOqIwU9MbYQivblVPhcSAPsvCWEixCPfmQY9CHMyP5F2p9t47397VeDou55a3HKO/PHXBA6dahNICkJwc8lY/+i3EzdthygSS0sKJwDi1pz/yoYQmYJfll1NJTk5OYeySxaOplj5XxOusvtXE55T7Lfz6katv1vSQ87KTaQPif0lZYMBxlo0GqWhPcWApN8XRICS7C7eHPF43MAYs/U24VaSq7hSGDbnWo9Go/5YLEa0PvuewgzLmsH2vhu84LY0gZy6r1j0NqwEWnqyCd9nb1+0TKz2U51U/GntP1lQM7Xb27IPr4mLL6wxRc9QGwUsvqVNtkzEJudTZHdL1vRpYwcARJ9zFACoBJ+QgMW3bs5jYAY/OyO+EA5oB4dWXDcf6SSxmRul8pwX0XwJ2d7MCOl/X+KuvbFVOdvqQlsS2Vt0uOlhXMy72B775+9v6Pybi5n55YyRjUclZ7WOuZ0sCw0MEAfvVjKq5p6txuHJflGZk/nVby3yVTk25WL9vh75LANwFltNbJ3ReO8sNFQf5lxWHeJN2dei0WiwknuA9qEIUJLd5XuAmI0xYPW0r6/seL6ioiLEe9NjZ0i7ah6KRedxNCCkBCE0IpGIVVz9ueee+xjDML/pjDfdbG5zp/0wz5JxbltCSCRxAwlryWc2VlNr/pWFyYOk37LB6ucT/PiCwpRUq7fPa/gfCGmHCmFEithjjIheXrUma8NUKOEF+d5AGD381KL1IuFMIEG06Ee6lbCwScSETB+NNLS9ol9o9rsYwQ7jIf9/8MkNzbWQubic/SRtv/hIS2QzcYa1Z+SsOu09ULKXde58lZqK39mpDnhYkzExNB+fdNfU+tMjId+rm5QjxX4rbnnmEGvIxAqwSom23DuJticIUJLd5fsgFouR5AZVF6DOJ7athZmse02WOurqUWzPb5/95qvPGY/HX40Q+v8AAPcTDdUm4wsXLnh0XS8Y2rNmsOaiyqiHPLpE5vE0BOd8TZ3Zc967ZuWdvXCdGDW6TPHNLcpJ2yy400uIjWO15mLn/G9vk0/4BSxOrulGwM3h2JS28r9+sLalAP1TjzQPkOK9MwqjLWmMfKbBsKrMkLzE9li/+kBDf7RTDBkI4Kl1E/UFWFL/12pDzMW/8ZrgUfL3k8+np798OV2WYxOZY6DDFfroq/z9V5e09ZFpffWRs56ejNR1A7Ebml0lF8GzHFM+maPbjRpfElJ7PSyuuKjDTrLmqxNcqL0jO9VHotHo71SCAe3zo4sAJdld3vuhoaG3Qgi/gjGnpxt6a6PNIpPzZMbPEu1LEVtuGbyvJK2uFku3CSkajZZ1Lw0NDU1DCK3sOhmTnDBiXWQh+/nJuzVa7wtqR4/7DC8ZWJS8K4G2Piuj1EaOYgAemywthtUZnmPN5+m+hhjBKhWX77LzBNeSZMk8b2xVD7mw7vvg3yzlNYET863tKGWTQK5zk63t2p8/80izZWInfxNN9o/e3Hjazhh1fkJd+v3vrZVVdekzP9UUDoiMVTrPnktxt00anKdib3Fyj8xpjPGtObFkz3p7/bIJ1aen3RV5eBfaX/t+0PmGlCqWFufrTY0NAIyYcu/zWvzG6Bj3NgJlPRjv7aXuH+k3tVlYTuH1QtJLRQHtPQAAIABJREFU6alzDNJYq/qN2Dyu8w1lh0dUg4wnPX6S1OZkGOb/D4fDH80da2Rk5OzAwEDeh2ssFiMEsC0WEWGIbLKNBo1Dp3ya5bTDsKzR0nv8wkbITmmJIlpcyP0TrST2tBQTOmbcyuIxVk+6NQyNJyfdJZNCKRh6WZJpKnNmTUb45760tMVD98mHWwZ4BjD/tiRO/1ij1kHOa3/m2eWRlGZu8W4mRKwjgB95akO7feaRljAxEtgka+cufurhljDHbFiqMjo2L83rq7/3L6tFk1E89lBLWNqsT/vUu1rCHAusFJGY4TXdFVoyOE9ZhRxYXfa6lZmj15Jc6ocrd6siFcPrvT1KmAUIXk3xs+cTfEWOdDuQbKQSE7g3NXoaApCKRCKNxeSn31MEbAQoye7BvRCLxUipsqO1yMJka5I6H5hVxcaaPoxKgYYzM34xM2udcdpv+TkOUPYwhBf/SzQa/UPnuPF4/FMQwvebpvkbDMOkMcafJscYxPHGmWTgvd1KmN04n8x6u5aiadoaUTHtlcjkTY+HAbobslLK+KVgRNq8NKR3HPXq7eTfznNUu7/thETmLKbFPjacWvza1Yzl4GX3yyXZh856Drz5qDu4rmJMNFOBg4CYmH/97xNXby0bBUNSnnykJcwBAB98csE6gyXjyzrCwzPa8kt63CHA8oYhBJZ13lfSvVbpeayd2aqWe0DWc8hrBl4eUg8ChsU71T3Ot68MUt1SZvo4wDgVjUYbSt172u5HGwFKsnuw//F4/A8xxv9ZdrdfMzmpoNmymGicnmwTlYVOk3Ovye7dOYPNlckOz4AQficSibxueHg4jhAKk4xEX5yWLrQKSHpVk3wkJ0QC5zvDtceOxWLkLLFFwYz+xcm7Cd/f0aEMNHAoG+v53Ko4f2Wd2XKumSufRVglPlDd6alzLFLJGad1mQCYj0+UV4lnB+3JSnDwwS8tX1yVzS0J8R846A784kt8B0mmpzUTmn7W5G4tG+u/9q3ETQcJW/2dBP3UI81hDkL4pSuZ6adGUnNOx6dX9ont7wl7m37+S0sXyRj/7VX+4+c6XNYZd64J2imz0/xMPid/E9cNm3Q//NKG7lf0uxsZlsO6K7isc76C+IvKfC+np5pmZFb/+0VXWUcjxWKFi/02iu2DIrbOGLx3ttxxRGW2n9MzIQDAcDQadXpnlzsUbf8jggAl2T3a6Folp6imILuz3BhRsDKe3kuI4cqqiOJWZg+yeiZA+hPivHbtmi+VSpGyatvKjlklxQC2SawY0drhQPi5FWHiSvJulqBwQD9w0mcGHt+hpJ29rU7PXlnquG2y7h1jb2087f610qQ2ElPc9QR23nb/6eWBnpf3Cs3/tCRMHvJozd1uIN5O6KmPfHPFygv8uYeaTnu4DY9i25P4qYebwxxjnb5mHaOcJPuyPrHtA1Fv88/+9QbJfuzVgYMnW7gAxzIFSbbVx4p/8tZGK7TJJuLcM2Bb7p+/39f1wAGpkeVYqPP+FV0IbDv79WQmTgJDF0s9O7fHdkEsPNwtn1402OTXZ1zb6gJX8pN9a7tyNMQjr9WXYXDK0192Qg17Xrc8e4A1MkGM8WODg4Pvr0Qe2udHBwFKsnu017FYjHjLdhi8d0kRW8tyTnGKXAnJCtpas6AuWWehtoZJHuDk0lyhKU0IluWVKmWmjjOmamlJAACS2J7EHm7zCs11QAIAzEej0bZCWxCPx3WM78YxPjvjuZA2cFl1R1/brB7ocpvkJQDK7q6bJufasa6q7S39uQlpuJZJEAqZgMnabSL7xrx4640t6iESJ/uVK5mZL4ykLE3r2Xe3kKowjE183X7W+4dvbrS8iJ2ex8S7+KOvChx9+KnF+EceCJw618677MQUTzzUEha4jTPafJrs04+0hBm48f30qiH/8tcTVtKIX3ipr+s1B9ytH/+H1dtXFrRtLyg/E/V1vOaw1MizDGcIgRVNCGTPfb2p0XMAY/YLU54REqpU6k/tpzrUAR9nMldS/MxzCb5sbTPfPNmXrRKtGsVk3bTgkBdGMRqN5i3mUGwM+v2PBgKUZPdwn+PxOMIYw5S3fwTAytL3VZJ4wu7T3Hv0EuuozGOHxuSGtxDnFUmbO5gv77JNSoarYZHTks12fVkHrFhGUCPlUAUGk+pytrl3R03WuS3xePwGxvhwOR7Fzv5HfCj4Y0HlAOI8WsbdZml2ha6NJPYYPDbpiT/anbHKuV1YZ6ZHVsWyHH6c45/06s2DId3p4IXe+cRC1sPYNtHa57G5Gm+uNuk8h3XO89pDUvBD93sPEBL95BtCZw82clyuRmq3T+rY+MAzixeefFdzhL9bTR5/5FuJq7cdZ7atPkb4k7c2nSbYP/1CKvE3lzLZ5CHOud894G37yROeTkLTuhBMaEJwrNIkFLU0FTsTj9Q6dtwiWozS0UiEJqrYw+fofp+akuwe7tBzzz13jmEY8rDFlXgak8QJAJnWOV264VDJyQJsks1N9GCTrOzuuG5ybiuOVdDWWgR1qdtJmuTfmOFViHSXM9bafojZxLup1Qp3+5Kq6DiDEPql++6773OlQB+Pxz+OMf6E3VY2ofb0tHtHoiykyZTiUWpXLyKE5+Gw650d8ikyXjVmY7tYwGe/8vzKB956NmiH3Nhy2iRqZ3u6MKev/tZ3V7LZjZwk69A4t2ixZKzHH2o5uyKbzH/8u2U7uUXEQNB8+Kn55wkxGybCv/I//2H89/7T63oFjoFT60Ym4GLcXhcDJlbNzK98ffna5lxE282aU51a7uV5Tf/Ed1bznq/a5I8hpwKABFK8vhzs/BzyvL1DObaJy7bjhlLul9w2NmFrYvOixjcUzQZWzhysoXjc8jSRlyaqKAe4H7G2lGT3eMOHh4cTCCHyJlwy0Xoyd8LQJMGl1lVyP9JYSk+eYJDmJjlrW3qPbzmXWpy4HjYNHWKGV9Keni2pBq10hwXy27o8DZqaXrfJNOv9CyGUI5GIbUauGOlcb+UFFae/Me8hHtolX7apGjGimfF0FswexBupVpc832WfKTfxZsOb29XD8yq79s15V9kJPu4Pap3HfUYbQhi/8ucfG37iv79toLc9wCRVpH1g87z0c+9sPesRsmbxbeTp1Fw3/72tDQHimXe3hMdXDPxfv5EYsbVjsmf/OKrMv+agu3VyYR09/NEvWQT8vc88asXXFro+9OWlC4kM2mKat8l+MW3iD//t8rYzzacfaQ6TxPrkZYvX1htd6mIfwgBcTPIrI6u8FeNsX29vJ05smLFySFp38UbuZnIldaj9zWz5L1L51mLve621WDIXYyp+KTNtedZjjH9rcHDw10u+IWnDHxkEKMnug62OxWIkpEIEDKekPL1FS4g5NEVSjP1yOcXYN9Mggqbuw5dZTlByl78yN35azSQFhmFNBKAOEMmbu5E7l2i+pqGJpqI2rK/Nd3oaGhfdvqDlXWrImeDS7OgB6+HDMBtJ5x1XLYL44/H4BYzxaaI9f2HSPWJgohmXdtl1XhEroIzUvS0ZBINNUVKmjgPDyHov29qrfTZL5p1QmMQ/Loh5TaYFHvKWB+rLf+5zWUvDv/3F+62iCra2aJ+5YgzQg0/eNSPb420kqdggIEKMf/bc+th3byqJ3Pkef6jl3O//69pEq4eVPni/t9WewybpHBnCJP3xXAqhdh9jrZlMQXj3S5cyU09dSOU9l//0O5pOhdyMKyEj/KGcWN9P/1TTQEhkGJ1vmFfFZuu+ELTVZkZdaWMBEhY01nh+lZ98TbPWx+XJ22xiYD4+WRtvbjJ3SEDiW9uUk6VYMEq7i7a3cjjKmdFodEuO6UrHpP1eXAhQkt0n+1mqt7E7M3eKNdPETFuWBmuRn5HxSPLsMbfXL/tbugtWQ1HS682akgqZhsGr6XUyl/Vwb+0/WbJJmvRZmrx+CpkmhxBiGYb5v8Ph8P+oBdw2VuUm8be1GpNxmbKnK6vNQmS4PelxK2GFTTYKZvDTm1VwckOHdAyNJ0pMVGF7Fb/ig49Z2P3znz06wHFwS8k5Ow9xPockW3v8ve+tjf/XV/hJPdW8WiwZ+5lHWiLvf3bpwufe2XjWNkn/xutCB063cMHvPjeW+fif/0u2yPq//cX7SZgVfPCJhbit9U7MraGeNn/WwarQXtkyfejLy5cSGVN1trMJPeXrHwHgrp8Br683cspSDwtwdu06BuCJErN2lXPfHJKM4MubNOuFj1wZT8dtxOzsVV7O+NbvARtuT+ruPUM+AQCTQhnEyY5eFIEsApRk98nNMDw8/L8QQv+BiFPItAUx4jypsW3l2Updgi81Sgp25026X2iMhTtXwkQr9Qabpr3BtrKcf0xDE5anbp0gJFsLTdaWcWho6BSEkJwLWvevgaH5hRITyDs9nDV366wO+TVPZip7Dug8Y/7CpPuCgeEWk6mdJAEBiBiAme8uum9MyjBvXl97rl/8nW/evnBz3vLM3dRiLdP7ZnlAq3ApuXJJ9pNvbDxyMMT6bBImbf78ueTYP9yUt2mxn3xj6OiBEOfdIM0WK6aWxLbaWrKtxT70+pONv/TgICFrGJvW1N/559VLTz/SHCHRQAghzDAbKRWL3VOETEcThvmr30xsMb3bmaYy3u7LCG63lGwkdJg5iiCjM8gQ7XnuZDjln5eEolacYnI591fnAinV3WiFQdXqkjKTAxDpDElhapEthGbSe+B5xjQEjzxxEmM8F41GO+35dsp4ViuZ6Dj7GwFKsvtof0ZGRn7aNM1n8xHt3RJslsBla7Gk04apmAGt/Sd2fIgujF8Nk7xK/saO2fWVuXZyTiv5AosNzV1lOY44Stsp9ajJGYvFPgYAsCr+ZBDQn5mSSkp48N6uTJjdTDno3P4vzbovrutQsx/UhZydXt+inm53mQLhxjmVXf3WvOv2+3syJMyG/J6s3xQZ6x3tltMUTKyrKOAVNmskWF9v0UYLeQvnlKLbMYnEqw+KoQ/d19DH5KzLJuhPPvbvczcnVpY/++tvtuJgyeezSRO1+1hyjJqFwcQAv+vJu05PhX4eRLaMgfGjTy9mz2Z/87XBs8dbeWIyLen+ZJAmEh+BzTksIdYNBn1pRixY3nCnn+u5BrXtXMDsJOZhzdU0r/MNOyYqKfenX+w36NIS7by60o4xnhwcHOyNx+M3McbkzBZBCDWMMQlZ6yt3Xtr+3kaAkuw+27+hoaHzEDKDJHug7XHskafOQSObiaikB1i+ZdkhFfnKx9nt5+9ciWC0/ahzpz6FINxI5L9RH5XUho1EItlsSrl9hoaGiOeL/TEWBKHnzJkzJT0k4/G4gjG2zNr5kmDkk+/ljVrXIY9Bzi2znsP2uS35TDYZ/PT0RtH0QtdOJeyIHCNrrokBv0q0Rue1zdz7229sOXkkBMR/vKUsvOqgq4UknHAQbEHzsHNQZ5k8p+ZrAbJZe9b2SPvaNXnlDUfcATu38YZShoFsAPPRZxZLKimXL0lFVmaGMVKe/rLyPjsTo2DA4McmdsY+357U08mJzGf7QuhCcFZ1hfLG70qZyeOMqRFnPxI7a5V/zL0wxj85ODj4d/vs0UPFqRMClGTrBGy1w9rnjphhMUQbnsRpT/8FzDBlJWNwylEodMfZxjYP258F2vpuQAZil+gpWJqu0FptTVbHAPGOAuC26Tgej69jjH2b/bNeyfmfS/h7PM//5Llz5/JmbDp//nw/y7LE+zcbh7umQeUHa+IdiDCDIcBzCpM3hSUHEfOeboVoooB4w47JfOZ7S3z2/LIwySphoqSQ750m/pyEFnY6RPzgk3e1vtwxc7VWGxNnKE0+OT7yKn9/pMNF0vxte5aTvnfDg6wXnWwbE2HAEqOn5dV79+Wm2Hz2AH/xU02n/SIj2KZlkYfs4w82n7O/R6wrlZG6yjbV2mQ7q3D6txeEkiwT9pxk499HMmsxHE57eivO6FRov20nJwxZLe3tKxhG5lIT7by+2kY8pg3et6SILZYFSFJmDjK6HLBfemp5hFLt84b2rx8ClGTrh21VI8diMRIb+nF7EAx5Je29G1ZTyeC2Z3EpDkzzY5ctj9ZKNFgim8NUDP5+URx7ZaPWKTLICvMhWi3Hce26rm/zYGVZ9gjG+BhC6Cv56h0XezANDw8fRwiRs71t9zYp/r2gMcl/XXKNyybIvqxYzknkJcZg8F/P7KxBHfEanS8N6m12uEkuwZIIYm9y1CJsDBkE8Uau5acvplb++oXMljAW5x4ebeb9v/X6IDEtWnrle55eeF41QFHvaUKiRFG9OZkwj/SEyFzEAwc9uJnswqnhWrLKKnrDLz018u1PPTLgkYSsE1Iig9QPfXmp5JJyP31KannorLd7et1Ev/zV5RESPgQBgH9/XU695rDoZZkNs3gl8d+8sR50yYsHMibEsyq3pZhBs2CKixq7xSve+dkBSZfIzIgREOJc27znGaQLiOG3pA6FCHGMIQtpX3/Rs2hvcjRibRFkzJS3vySt395nSZ4+zBgKKSxA3mzmI5GIVTCCXi9uBCjJ7uP9jcVizwEABnXeP6+KTSWZTndajjc5eg4AzEoNoXRDU0fBOFM5udK1tjhthYC0HThVUCNYHL96yjRN20ybd+oFFZrfmHdnH0Z5Uis6+23LAjU0NDQJISSOJORePR+NRl+y0xqHhobGIYTO7EobHiob/W3SIuSCNQRNgbFyKZdUGPx9PUqY2dRcbTIkHs4p34EtD1tL44EQy67WcZOTlsnLza1VpP3a1zfyCOe7bJJa15D2s88Wbpfbt4AGDP4qnloIuRnxJ09I2WoxGBN2wNZv3o57/j/svXd8LMd1JlpVHaYnYjDADHK8OeJipnFJSqJFyZJFSrSVxSSRDmvLsvVsr/Rsr9eyV6u3fpbDSrvSOu3az6RokcrJkkiRlkRTsslL9AC8vLw5IOeMydPdVe9Xjem5A2AyBsDgsvofUXcqnPqqMd+cqnO+s1FWk8JEHVv6A2spbsRCGaB5bZQ1ac4UJCmBqPR3x1OXo6F7DtmctKSeedxskvtW8lPt4ZETGInRzDUjkrRjuL4W8MZ/4/Rojc7ZstZURjhpWzcmIpBTY0YpxWJsNU+DMCeForaWknSVLYmFJiG53JSvOEYVfx0x08pEgJFsmcDtVLdiU3uKtYd+SXC8SLztB3OTZ0qUwupyz9TUt2Yld1MdyrjPoy7Mmp5A2gwCIflCjnu1GoGI726K0XzXzId+l5ue1WVZls2I37xLUxTlt2RZ/lxmo4GBgT/XNE09ffr0H2br3N/f//MQwrSnnMAAPDmevwD8O5tivbXCWvpJzNZyWeekoo7PzePPuSjBv/HNuZwBPRur3xTaT4cI+X98v7eHkiBa8xpLejbe25bSmR6pm1N+71Ik9PbDdie1IDMq+T3H7Z0P9Nhp3dWyvNlS7Cm3rSM8dAoQzNG3N+zsLujF2mNTJ6EWFeLWhqsa78irgZ3LJqrnTDB+vq+v783l2s367S0ESv/r3Fvr2/PW9vf3JyGEQjG/sotZLCVZhDjg6zyS90slRaLE5qqdddW3rCPaxYlrh5OJuP3Lk7ZzMQ2UVLUnn42NErbf7YsfpGQLIfxsIBD4WK72GZGbtEnJQgDBYDBGCJFuRITo8wvZ71+9ou5+W4PanSmcUMw+SPGZdlriLWX7uvJ0udaTT8lpY58/e7vnVJeb41JeKKFHy49/wNubeedKXdaRyZVYR5PLZv47JoQCu3G4TE+/4Cv0v8+EZp69Fhs3BTIyg7Q+928r138ynEjfmf/j+71+GlRNf4hFXPsKkljBySvcwPBKS6jIY4uM+hFWDUWrck0R1BWPJT7fRQh5qa+v77Zyx2H99g4CjGT3wF6lZAXT0cblmuwI3+gBhPCCZNXrmvflvU/KDIDaeC+7MjfeGgstN0wnuOTTM5aSdYQL2Z8vahdCqGma9h85jvt85jiF7mo3zqkoysMAgMcoQT+apWbs+5sTvXZeTwdRGXe2zn0D1sjYEQ4nrQTxyYi9I3WHSe9d14QXzBqqmfNlyzttcnG2//HzdYd/55/nL02t4mghknVJUFyNk+Q/fsDX6xBuBndlBiqZ3nDG3OTjn332ypnzE2EqPmHeU6ejjVNRx2Z76hWrGgYCD6lql/nPa7HHhMCPf2/x8tiKHjaPti/OqtofP7t09i0HrC0fPu2k1ZSypiYZalUIgYijsLdY6N2o1OeO8I1eQGhAHCzaLpNkNd45G7f6xsq1xTzd0DSt6/bbb09XLSp3PNavuhFgJFvd+2NYZ3ptW/kFTcdxhm8UFcykxqM1C5M3DE3WbPey5lHxo6M0n7G86kGFYH+kLerPdLqohCIP07VoN3UvlWTpAKk7b1knkDw+Zk0f5d7m0fcfcSSMezqMhBgiWCBYo/XRs5m9KSqasu0XRm3BD7bF/dQLXojp2jNXYqsYQ3K8UXCebBLFbCNlkvG7jtk7H+yx1eXTF95I3n/3Xm+vR4JobHY13up1SmZfU4giRbR0DYZ3vXHs1UiCfOyzz1xfCiUSn/2dnzvS3uRC2WrgZnqxdLDP/0Jdb6OTQ0NLePX3vj+fLjRPFahSkK3DKCY1jOuCo6RyioXel1I/N+9WI46OV9cKGhT3mAUktvq3aM5fzntbnKWsVbUgwEi2WnYijx0DAwP7McZX49bG6zSgRs0R1FFoKdlSeObHrvYiBImuY0QP9rCuwwzd4ayBTybJ0vnOh4SViAaTF0J8SUIVhWzN9bmACHqoNbYWvXuTKD5CCLm9nALa/f393RDC63NJfuV706JRAMD0pFWxdlJILjVn2rKYhPg709bBh9vifpTS313LM137U1IBh78/I1xZTsLI+1vifju3XsM5Yywyp/KrXkEzA5Nu5tGsD41OHecaFYwM9zIBYMICiJTUCHkoQwzCvKddWompP//xL7+S4b2SN/yHR407+IfvPeX9tXedMgLDKH6LK3Hy1X+5MPrr7wt0vHxlRv3onz9lpM2YBQRySD3SaGzygYxKPUaVHwzIA0/eFLL45M/W9hxrFHgIkaZx1hCnRWsos8cs3olqIdlSyNIWHT+F9ARHIJ+MODq2dIJjD103orHpAYksy2vF5NlzSyLASHYPbOvGKjTlBpNI0YkDvB53WV2eSE1986VMstwIQ77UndmRSyewrtFE+5vEQCDQAST/NFa6iECpW9AoEdvdvtgRShJ9fX3wxRdf7OR5fogQcn9fX9+XSxlPURSd3gH/cM5ytadG7a4XaSDM+mckhhI/npOyprf8rDdx/IdzlvRnP+dNnGy26kKG60bcze1XEBS0ZDzkTIRDtWoiZuQGY4DI0zOWG7MJuJwl6jpvqTfzh8C5qWTyUz9aNr7w/+493l6PFSLTc/3Uh+/qeJPcWZ/hgJtmGf+bVHX85o88PkilHjUdg7s+/IX0XeN73nS47WMP3e771A+XLp+bVtNBXl+6v6GH4wj/q99YOLcc09P38RuPu4/4BPen3lq7j9qVSWT2yMjJuFg3UwUkaxyfl0KyphcbsbW/Qjhhy4XaRW3FJ8bm2xBC1/1+v3lyVMrry9ruAQQYye6BTVIU5UsAgA+kSI16JPQLwnBGqJxSXPINabwjq0iDuTxHZPgkwDqVvIOSyxNOhlftGGtGUHC+NJ1C8CxNXD2USCTsJuE+O2cZmYhx84X6beXzjDvbdMDTU089ZbnnnnuKPvaj85vVjxIYxZ8cl84/0h4NUEBUALWRKB/fb9Ptzy/w0zci/GQx9jZLev1bvckOmkPLWyzR+pYDmwQttGTcMT9+7dD68RB5dFQa8Flwzdsb4vtplPZjY9aCwTUmDj+6ngj/zYsrlz/1Nu/xI/XQ8vzg6MJ//qsfDX//fz5wMp7U+Bq7FVjE/CHIyaRO3vwbj6cjzk2N5Y98c/HsfFRL5xTnioI2U4n+5Vp09u/OhMe+eL/PL3JrP8KqmWRVyTuXKKHOLD0NorWUI/b2onOK87079sjoMYhVquH8B7Isf7qY94y12VsIMJLdW/tlWBsMBqlQv5eQmxVNjA8Q0jEU4lFb6yVbZPwQJKo1Zmu9IMVmOhFOGN4TLUMHEQeoHjH9/+WKTWSDzfSMKx11nDlXpvQhhPC5QCDwpnK3sL+//xUIIU0lMrxGk2TPrgjjgytCSXeG72tO9DpSgVJUbKOh61jWdJ3lmdHjsciq+ON56epoFIVMDzab3JVOIHi8ANk+0h7rhYCgmbBOPvrthYEvPegNcIbYP8AIAfQ/v/TSHD0Ozqwf+6E//tbllXAi+Z3P3GekUdETgeVQnDz1wo3VB37uaE0uBSgz91XHgNyfcSz8Z/d4TnV7eOME4O/7Q0M/uBJbzMzf3aiGFbf4pjTRWdQPl3L3tnA/jByhIePaoZA364gM+0FKdY22j9laL+mcJat6WOF5N7egqUQE6xw9lSmnP+tT3QiwTa3u/Slo3eDg4Os0TftXCOGmWpYbg1scnqZZjJPW6PKCQbhUMlGyObJWkCk4cZYGsZWFupWFqc6kjsgTBXR/yxmf9tlwrLpJvKLUcRVFoV+WVGuWrKpQdQnELD5v8A8l33xjHnRqLa+rTdLIWqN9oVMBM2rbLD5wwqXVB9xJU9+Y/PO0dPH19Vqbh9cdVPyhGK/WxOTD31g498m3uI81ubh0aHBC1YlFSMlHpGw072d/9DcPnxIFlEtPGr8/pRplrn9jwNP/+7a6ngP1XPq9o3fTz16Lhd+8z2pP6SIbvx0yI3gNT7CEiN5S97OU9mvKXARF7e2XMBKykqY9NnEKanEOQIhp7nfC0nRd46WK/c2Y9qbU2PRAIMBq0payiXugLSPZPbBJpZj48ssvH9N1/b/quv48AOB5hFCmR0U4XkjqmpoW07c63XM13tay0xE22mZ6sy8ti3MXVrcnGGoD0Q7LstxVCkbZ2mbee2uCK8ppIZtZzsxgz1SQ1XySC3932pLW5L27Id6mN/hdAAAgAElEQVTTaDGK2hckWDrORpKl/9YsYcdkHG0StzCPg/99UZy+EuYn8q3RbGsWXi+ARzoQymxnBknlKnMnt1icv39XzUEa8GToHadUo2j/BADak6O2sydqNG+3Va2rEYiNRtE9OmodNO0yvUUzfSUpuEOqpfaGoIZak7xjEiCuYvnWxb4Lpi35PFl76EYArhXrKHh8X+y82drxeqhGis7uhxDGA4GAdStjsb7VhQAj2eraj4pboygKPVp+CgDwSEagEvUwaOBGptdmzJ3vqLMY45ZnRzvi4VVDiIFO8thofiWlYsbM1ibjXhYjhN6AMf73FBl+tq+vL6eIRa75TGUtnbcvxqyNQ7SdLTrZg0CSA/pagQbzMb1QJ4/t722OG8pUNlfdtKu+KS8R0nY305+Kw8Vc57KK9G9NSetym6nXTUvz0XE3Bk6Z1Y8yc1d/SXYeuOeg5KLHwTom+I2/9pjxA8y8f52KYP23vjVvzHFbq1Dz8Z/xdEO4diXxn55eOv/pu2uNMnkZT0FPfyPJ0r4bSsYZwxFexFHBd43wlop7ibn23L56jcpf5iVQs9hDORrMpb7b5v0sQuhRv9//S6X2Z+2rEwFGstW5L9tilaIo/wdC+EuZR1KKomiEEKoetL4iC4TEVd8wYnPWL5RqjFkcoNySZYXm20AomXKMtGtUlmUaiFXyoygKTeHZBxCnhe2dm0q1mWIEWQYuyoulUcULE9epolVBcjLnEHmIHmgKp9WczBSiuxvUfY0W1X1TQxnAiM7hr05YBjvt2PvGung71Sq+b0NtWPOu1IxAfuJP3nOkvcFlHJen5sz1nUBuLGnh7lreuGowa+8WAtkovpDleFiKz3QiGuHMO+al2MwBU1N5uz3GTHsdoev0ThYlxdqlpMWTtXiDNTZ1ktOiFVNcK4SXI3zDT/VJY7GY784775wr1J59Xv0IMJKt/j3acQtpWgutf0aPBRFCuq/zaEnVRkr11kpZoN+tNpx0qa2pPtnihf4rAID+cOjs6+v7D6WMTduax8a5vuztkRG/UXoQQQIwrcWdO8hp49wmLs/MSpezHQ/ns/WDbVE/DwEcj3OJf5m1vLpRFSukc/jrE5b01QD9fHgJh373+/NXDnnFmlBCVz99d+0Rq7B2XZshUBHI9qNhfBXjv3x+9cr/uNd9hH5uilLU2Tjhb99dd5L+20SMSz47l1/xq9gar8Uc3Za6l4XaFzOnWd5uh8mfZg/QeIOc9ZcLrY19Xj0IMJKtnr2oOksURRkBAFDhAmJz1c266puKqgS0nSRLQXqwJX5C5NbK5hmSfQBh81hzI4jlKOqsFYEHYtjZnTXoybyno3OVEp1NcdEJwI+P2XIWCsj1Ephk9Y0p68VVFUYpiWoEZc1Lfqgt4RegDn/t63Nnl+JEy1BeMocn7/29r577+p+/3yBL89l4H/vk/V4/z0G48d/ffdzufbDHbghamEfn2ewWIEQPtUV6CaSSivnLyJlHyDtMZms/MLLoF9sjw2s/poy6dJwWcWw+2diuP9hUtR4qghKWZdmst7xd07FxtxkBRrLbDPBeH76/v5/Wvkwvo5DnpmkJcX706oliomK3is2H2qJ+DmYKYqxJBRJCVAghRwjBfX19VDSj5Id6tKl8SFqbdt1j1hQthEVmJ7M+bz5SymdkNj3nXBi/xRs/0WrFYlIn+KEvzQ3+6m3Og2/dJzmNu1idYI6DmcLEtHYSnI9i8pFvzq/7UfHlB70BWlAgWzDUX727/pjPhqRVncPfyPCgM9dQrBdL+6S9SnpMj7h0Xm7JG1dkByqKAbEmUIKlJxKYl/SotcU4sbFGJno4HDeC2aL2jlcx4nc8KMsSn2sV1JAPITjt9/vXqY4VuUTWrEoQYCRbJRtR7WYoivJ7AIA/S9mZ8w5yaWakKxEJeeZVTvvulGXTvWal1vlQa6xHSNWCBQB8AiE07/f7/65S4/f39/8yhPAfdN6xGLM2GIFQ5kO9HECo85y/qD0VniAY87qqWpfnxppp7VkacVuOjcbdJqG1Xo2a7BCANQGLbGNxEKIPtUWMHFBKkBk5q+n761ACk1/+2vzAkw/6emk9AHoe8IEvzq6LoP3Em+uO9TRx0pWFZOgPn15eVzvVHDPfj4Zc97G51r9T3iyvRmqk+PR+gDgStncOZA3EAhBEiih/V85eFtvHLMWHEPqK3++/r9h+rF11IcBItrr2o+qtURSFKkvVcLyQ8LYf2qR6E1mZ9YYWZo2jxCcnbGcTOqi4V/KBltgJG5fOZ91yrmwu0BVFoWk19mxHmJBg3h4e6smXujN943zgZjxR/qPVfBv/dl/igE/SXSsqxN+cKkzSptd7YUZd+S//snTtM+/wnGpzr4lFmMRr/reZ+0or7PzW62v2f+KZ5VcSGjaL2wOTTDd6s2v9citT3VmXbNtn13yq1Teb4J1jnBZ3EYQwDa/CnJi1Fq+UmGnnk2EvQTyJ2Dvy5idv5Q8lG5nTqjwEU/1umppsaBNXRNFpK3bSvqyQwFYR3P3+jGR3fw/2nAX9/f2fgxD+X9TwjXeSGGM0O3zB8KJeWRWXB5b565VeYEZ0cVqLV5bl9BFopeYbGBj4a4zxR2JS82VdsG4ihkwPSBQtUU/rTRnF5ZmxY/HIihTS+dhkDKz2L1kmNULS5JXPxkfaIkZqycan0FGziye29zTH1gUq0TH+4X31fpdlTVbxL55fHX1pLJ6OWqVkiTEgCK0du2+suvOnd9f17K/j+B9fj83+9YuhdD51IU/WVOaiP1DssdFeqKk3j6g5AUds7Vk9evPYOOLoOE8gH6/UXprjmHsWtbdfxEiIVnr8So8nJJfrLImFTgBhWA4E2P1spQHegfEYye4AyLfaFMFg8KeEkNdn8+Kmrp8zCGIszsd/OCtuus/cKhY/35g4VCdSNSRA74qXCCEeOiZCSPP7/WXdv+azySwgkDPaOHwjQI+NfZ2HziIkpL32bKITxaw9LbNIb0pTDwa0FF/hwgvvb0n02jmd1h7E96XUmh485dz37mNWmupjPEagGMy4yF5vlHGcvBjF5MMZ97N3dkmNv3G7s+Xxwejw9y9FjJQuU2IxF/Fnyl+aUycw0CwICOYxbTY8LImFZiG53FRKMfVicKVtTALXkT0ZszduqYpOsXNupR2vhd1SbMYospBKsUrKskx1jtmzhxBgJLuHNqtaTFUUheYUGipLgmRbrWvuTtcQrWRk8evqki3jERQejfMrdK7M4B8I4eOBQOBhSoJUw3m7dF+DweCvEUL+Lm5tvqLx1rRQgpBY6rIkFw2C3/hjgxDMzwxdMI6SC8kyZu7pQ63xUwLCXDGaxdnehbc0Jo+1ipqkYYAfeHLW8BT/z3vr/W4JQU3DRsBTpi6xKU4yPLES/eB/+aZRzIAKU1Ae/sAT6+9nP3DS3n3vYZvrj55ZujSyrBke5qMf8B2/HhNjuU4rPtgWO0UD0zAg8PFR20CLhB1v9cUPFZJVTHuz9o4LBPGxirz3msY7YiM9hBNxxNZW1r14RewoYRDT604F8xk9IYSTgUCgxRymv7//z/r6+n6/hGFZ0x1GgJHsDgN+q0z3k5/8pNZms81TgqNRtqJkCyViEaPQ+blVYSW4LBi1Wct9Mj2hoSg3H9ZQ/IRLbeU47jd0Xb9PluW7yh27lH6KoixRmeeovf0cRkLSUIEiCRq5bAQ+cYIY97YdXOexz41e9tMCDPmOd3+hKXaqlifcV6Zs52IaMFWbjJSSQsfC+ex/Z2P8lFvE3KVZbfWPn100fvyYlXPMHwTGrwJqvxFEBcDSakx1OSThHb/95MtPf/5B+uMAJTEgP74eC//9S6F0wNPvvKHm0BGfyH/4G3PGen92n7X2w7c7u78xIV0K6agowfy7GxL7Gy16TdTWcg1zkvHjKdtTaY3jnQqqKuXdKtTW/LFhXsnMDJ3vNf/eMMbvhxB+PTXGD2RZvrvQeOzz3UGAkezu4H7LzKooCg0QScvtzSZ49fszolH4u9znobboKQECGqhDSeLA2jhrRcsRQhN+v98Uoyh3iqL6ZRYPMGX1NkSiZo2yXp4eOR6Phqg+dFZP9ohTa7+tNuk1jZhJctpCkosedSSNAu5bIVna/+G2aIDewH73YmTqsYHI5JMPeHt5dDNtp6jFpxotxTD5tW/cTO359D2e4wICKg2Uok0+fY9nv81msfxg1lL01cDbfIn9DXbeFrW15nxPzMjaShwbm3uWEN2rqqUufepSCg472VaKT3fwasSQJuV5gdS3H0oHgc2PXT2qqYl12sYIob/2+/2/uZM2srmKR4CRbPFYsZY5EFAU5V8BAD9TCYKgY6SOhdNRw6auMP2MELKvr68vqwReJTdoYGDgBsaYHomTTN1aw8MiBDTtO5FTMH5h4sYpNRHl6N3oF0Y3C0+Yx94jUX6+3arWbwxyWkpC/O3pwlHEudb7YFvcL0Ka5gPI+784a3xB00ClBEHkySx3uzRg6nANbu6WNJeF09Pi/3SdGBNw35Nz6bW6RCj+5b11x0aWtJU/+fGysQ9ffKDhlLIszBUqYpBp7wNtiWNItCUTkm8T6fFaxGlJLrQBQiwJsW5aExxT5e6tIzJ0CmDMYaqNbN0bx8TOyJCfYAxtjpqYy9d2Idval6ZG9mFdFZOJmG27rkrKxZz1W48AI1n2RlQEAUVRFgEAtVv1wjJI1rArU7FJUZTDsixfqojBBQZJEfs6gqVdHNFhPy0Y0NB1bMA8bs02lHk3vdGbfaQtFqCntOdX+cn+ZdEgj/tbYieSBOIfzFquvr85VraQxzuaEj31PObp+Jn3qmaQUhwj8qXxzQFUPCT8Q22Jk9DIvzUfmjqLoU4IuP+JmyRLPz3eKHr+6M3urqcuRycfDYanfrnP1fym/daGL40X/8OgzkKkexviRxOSd1oTbtaWtUan9nF6zK2KzpWExbulKwd7dPQY1FWpEt7wTrxz5hz0hxzHccTbcSRvGlN4ec4XXpxpQwi1+P3+Xa7Pu5MI7a25GMnurf2qWmtfeOEFjyAIC7QU2mMFarAWWkSPS/WdqtFaqFRiObKIhcYv9LnpOUftbecxEjelkdAvQVGyhjzN+9YJNGwc11R5yqiIk26S68fIg23RUyIEHO3zzSnp4qoGi0ozqbUA+zsbokZFoPkwjn3k2/MXTHI1J70U4kMvLonrbG6W9Lqf8yU6U23I1TA/f9Cpe13e1tGV2Yk2SrRnp5PJ//bD5XXRuG87aG192O/w/dULoev/PhJf+dv3eI8sYUH76YJY9HHsbR61+bBTb4zY2l8VtVW3oK42EsiRhOQd1ZEl531tof3LJKu9RrDGD7mU9y1KNs3T3J1X0GV2+EIPxnhRluWGYnFh7XYWAUayO4v3LT1bf39/AkIoPj5mG9BJuqpLSWt+T1P8iEvA9M7JeDd3mmTNAgGaxT4fFxupdvO6B2JNskdGjhXSLNbVhH1u7KpBeiaBGQXMASDBFWHs1RUhZ4WVm3KRuVWdMo36YFvcz68dD6clEM08VkrW/zonjg/HuZlsG2H2fWpGvDST4CN31CVbDzuJr6HzyEAsvFyzPDu+nw4cVzH4ByU09bP7bN4/enbJ+OL/Rb/jwF37rbaPfmvxXJubkz75FveRZ+ekoak4oqcaRT3vakoccFsAVcZCqsUznxTdmzAvaqAsjYy72Cy6xOWOt5P9zKAnUbJrnuaunES7ujDVEl1ZaNQ07UO33377P+2kjWyu4hBgJFscTqxVkQhQL3AxgaLfmZGMlJBSnswSdvQ+0O12SwcOHEiUMsZW2w4MDKgYYz5XXizCqt0WGT0sCEKsru1Q1vsyakPGcTH4yaLl2vUwV5JnZmKR7/jdymHpvpZ4OujMVGUyo4mXNaR/a3J9DdpMfNwicbyrMXaI/tv3Zy0XZ+Nc9J6GxP7OOgdf42tLH8vHQnN1K3MzprcLlmOY/GoqGOr331hztKtOgL/+jfnzf/im2u52r8X+nSmp6BxU83464ug6SyCqqDrYXiZZuidm8JfN4112uRtyirrMjFw6QXSNk2WZ6i2zp8oQYCRbZRuy180xCwqUcjfbadNq7qpP7k+tfUKW5R2JHs6FNf2hgDlLOGprNSJoNz5mIe/G7uM578xMkv3BjHR5KoGyygjm2+t6484ydiyiI/LViexCFB9sS/h5qK+rkmMeEUd1RL6So58578NtsQCt2JdZeu/hzuTJOl/TrMVWM51p38Lk0IG65q6r6VrBa5oWxt3vTFjXwkkS+YOnF689dp/v5KWIuPrKCj9czLtskOw2eJtp4QnBEY9JDXkjnzdGjKfszvhuNA4gIEFcMmLvLPoHRDHrz9bGGp3u5vRIbUqAggpWg8auYzkD7cwfdVScJRAImLnb5U7P+lUYAUayFQb0tT7cyy+//HpN035KcSiGaE+51MZTbtVIrkcIXfL7/YYs4G49wWDQKGKftDYMJXlH1mNPs8ZoviPjaGipdXVuwrgnKwaHjev9+cb4oToRO2aTnPr9aUvWVBcziCpTVzijGAAwa89mjn3KrXafdGq1lFzpgwkgXxizGT8WGi2a/e6G5OFCR+GzwxdOYYxpipUha6lhAhIaIWen1IUbi2r0gV5n29cmra+a+b/59nI7SFZQw7WW+Ex3PmUp0yaTYDmOJ7qu0dxhQxWLE0RCsA4xlXFO/6Aw69oDem88ogouQ/2q0k86fSlj4EJ7ElqcaYwsz7WslYFekwuDEMYCgYCt0vax8UpDgJFsaXix1kUgcPbsWbuqquFigqDM40JVVW133HFHZdR9irAxV5PMdCGdty/FrI2b0oU4Leaxxia7bC7PtKu+eSLbWFtVvjKPi0M6F/v6hGXTsbRTANb3NkWPZqbpUDsya8dSL3MyycfrBWzRCQBWWnY34y8+iaH+xLjVKO9Gn3c2xo/USdDq68wf1Zq5XiqQgAlBf/VCaOI373C2fOlsZPTOLmutLojcj+fEglcGRqUeTtIitpaKVGyiQv+AEEMnuVBtWik208lr4TrR5kx6GjsKeqir89MHYqEFI5d5TZ6S0yO2tvMEceoWXrlNXe2RkeMQaxZelLCWjCNfx+GziOMLHqVribi0MHXjMMn4AZT6IRSFEH6CEPKr9HpdlmVD9OTFF188cPvttxcdqFbJNb6WxmIk+1ra7R1c65kzZ97HcdyX6VdRrmhjCwe4B1qipxBCf+n3+393B83LOdXAwMA3McZ9AIBmQr9EcxTrNj2gbB7G6sL0wejKvDOBucST45as1VxyFAEwCx6ssy+qg8TlVXHmbIhPB0s93B73I4Dhh785f3Yxitd9Aae82axjYQK1L4xZsxJaX63W1FOH6upb9xddgWZ5dqwzFlqpozKM7zpm73jfcbvnMz9dvvq7P+M++G+LlsmhKLfu2Hkj8I+0x3pp3b6ItfkK4aW0bGU574I9Mn4Y4oTdOH62dpwDCOUlP2d4qJcKTfoKpMpksyWyPNsVWpxddzSLOSkUtbXkjTgvZl3W6MR+To/X1Lftv8wLUslXDeYcKYUo+h2/8XtepwdHG/59WZZlekTNngojwEi2woCy4W4iEAwG/zsh5GP02/6xUdumO6WH22OnECA0YKNq3sNgMDhFCGlMrYJWgSdhR/cmrVtHbLQXaKpRGo3mzG7cd+rJzmjc8lOTlqwBK5uLsBvaEYDQ7z6ISFJ0LyCsWQR1OVvllXT1of/89NLFqwtqjNaFpTrBtAA7tWU8ipZabdidxEh/Ylwqykv016qN/jrkrW89UNCrM9c7O3LpJNY14VsXostfHAxf/8jtzgNyq0UanEiuBNptnq/lCbwyxzCx2EqJu8x71UIeLJ3XFhk7hHDSARECDZ1H89535vubXpoaPqnrKoc1lapsgpjkuyrFZ/cBgrm1snkQR6TmyxxRBSk2Y6iXqYJ7OiHVpU5AMHKER09gyKlRe9uFdA1Znie+9sMVK/cXCc/XqdG4Q0tE7bqmStQTR4jT6duCdZ0e/cNq+ju8lb5Hq+bL7VYCla3lJgJUwBxC+Hs6gPrjozePJmkL80i0mv64BwcH79F1/bsIIR1jbFT1wUiKRO0tm0QwzLtZq8s9W1Pfmi4DR/uYObK57mONY9INdVM5LeHSecvqxvdHis0cUwXntDUx0wHwWqoOFdk3vtUzHpJyWOBa9lRJxQloh7f5EvtabKCmlOPiZCxmW5y6nr5HT+gEqJgQDkCSxEAdT4qJ/iWh4JHkAy2xExaOiDqS9Ji9JX2EXczfUjrIiXckYtaGvF44xBpvj4xQfWbDkXPV+RZsNd6igrTy2ZJZO5ieyQsWm0Z/NKmJmBHxS0ktU+ifIDEGcZJW1Nn0HYw4nvg6shPs/Pi1QwTrHOR47HB7JyW7K/2+LExcP1jXkj93O9saFiauHVETcVs1/R0Ws+97pQ0j2b2yU3vYTvOeM5NwvBKxvcMXO4IQOuf3+09W6/IURfkLAMDHMbJEovbN0cYpdR7V23FkXXDS9ND5AA29zUeyxQTm5MUF67ykrnRzetwasTWnvVVHZNgPsJ63QEG2cXvcmrevHjXVt+4vWXs6urroWZ2fpGk+6e8UHRPAIQgGV4SlsytCQSlMMz8YcyKOFlkpxxG60Us1rQHiSThPoXdrZPwQIpoIiS7StRcKJCr1fVTVhD2yON1lsbmWrM7adff0yzMjxwFAxN3Qdl5T4875sWsHeUHUNVXlJIcz7va1n1+aHjmeiIUtrrrmKZurNqt60+LUjQPJWNQGIRwihOynnrK348jZ2OqShxMticjidGtd6/6C9+DZ1jYzdN5PA6X8fr+91LWz9vkRYCTL3pBtR8AUeMgknPtb4yckhEUIYTwQCKwTPN92g0qcIGU/DaTZdHy3dkwJ9cbuY+u8r/nxq71aMoHykiyAIOzsLvuoMtcyLLH5Q4K24ig1qvlEjea9zVseyW60xUz1of+uEQD+aWzzdUE2+83qSxFH+wUChbyBcLbI6BGEVVshUjY9XdOTrKlvnbS63GXrIZf4+lSk+dzYlSO6qlohBMs0TeeFF16wiqI4SAihec7G9YHF5lgGEOFkLOKi3q7dXT/p9DTmvRPPNG6GRo3rOse0kCuyZelBGMlWFk82WhYETJJ9fNw2oOO1s8yNRQCqGTjT/pit5ZLOSetKujlCNwJr33FgXUUe87g4hlHCirD4zKx0ZTKOwve3xk9KaO0YOm5tGNN4x2yl126LjvUiPZmT4HPNd5ySbD1s9rYdKOoON9c4Zkm2NTlJ6s8T+IVRW3D94fb63nKttn+/XXVZkHHoDSOO7rMEwrwRtWJisVFMLrVgzqpFMzz5zJHtoeETEOiiw+NdcrgbCnrTld6LSoxHU3KopwkAoMIsL8mybBTjoM/AwMCHNE27yPP8f8QYPwghpCloNICsVrI7l9wNHUWv2UwDSpH2ZVmWdzWdrhLYVcMYjGSrYRducRvOnDnzLo7jvplaJklgpFnWiCZdaaeaIRgYGOjAGBv3djpvXYlZm28K12Odd8TGTtLj2UJriOswaVnz3sFWgnwKzWOSrHkvW2fRpXt9iaOPjdkG3tEYP/j8vGU4pEGjhm3mc9ypem/3web6toNbIlka9EUJ9rExa/CBlvhJC4eF709brs8mueVstt9Rmzx00Kk5qLbF2nFzcR6+mFxsEBNLrTpvU2PWpk1H3GJy2SsmFtppDqw3xx1nISyr4fOF8atHNDUpBQIBGqCU81EU5bQsyy/RBsFgENP993UefTlfIYtsg82PXTmmqUkLhDBR7adM1bA/hWwo+MVQaAD2OUOgGAT6+/t7AQDPQQiNPMPU8zlZln+7mP7V0CYYDD4BALiPAEjC9s6zNPKY2pWObEWIAEyFAFI+G0KGMEBC8k1KsZnm9Bo4joRtnRWLHE2Pi3XeHh3pyQyIMgNuMvGbTgrLT08Lm6Kejzm1+jt8sKV+C55sMh62LU4OH5lOIO3pGemsV8TWdzTGj2oEkfnkmmf603nxiksktsnYmsYxrX9Lc6qp5nXArTaccKmtNHc2LDWdgwhRssj6mMfA66KJMUaGwH7G3XCl7193+l1MnQwAURQ7Tp48OV7M/IqivAAAuB1AiBu7jm2Kjs82xtLMaJcaj9g53qISiKEWj9sRQq/z+/10LPaUiQAj2TKBY93KQyAYDFJt4IG+vr7byhthd3s999xzksPhfAUAsl/nHUsIx2oh1qEquicTlrqc93zW+MwxTg1vS9k1qqdsSSx0c1rECOoxa+Cmj7IRR38UDNgio36EVXg+JEz2LwmbbK0EyZp3sU9O2M4mdGCQ6gfbYqc4SLiNXzaZx8eZKV7vaIof9ArYSXmSHh5HnF1Z762N2r7G52v32ukgKAAAxwuE4wW9tqnzPKywJvJOv4ELY1ePqqlC7aVEAPf3938eQvhR853wNHVdFq32ddcdmWtJkbmOEJrGGLdRgoYAqIFAgEZBs6dMBBjJlgkc61YeAmadVlmWDVWevfooikL1cKnikvEUk5u5XWu1RUb8CGvG33IhOygxzSS41admLJvSao66tLrXeWFrqZ5sNDxXBzEkK/PTRnTxkgr1b0+tT9cy137MpdUfdmgNUQ0m6yzElsRA/8qElDXt5gMtsRM2joiUbDXemkhY6q8RJKRLD24sAED/f770l+3CfyfGNaUsSyFZapeiKH8JAPgYzUSjvz18nYdfRoinYhSbntmRiz1Y15OyLNuDweCrhJBj9I43EAgYMQTsKQ8BRrLl4cZ6lYmAoigRCKESCATeWOYQVdNNUZTnAQB3mp4jp8ccluRSE9LiDvO4EnNiTOWdc6pYM79dhjsiQ36aPxuzNl7WeXtehaA17y97zd/DTq3u9V7Q5m0/WFSeamYEsbk2nUDw+Ji1YhHT9JfYg+3xHh7gdIUZ8w725jE9RxJC7bAlMd9lc3tXXZ6Ggnm527UX2zVuCm0yw2kAACAASURBVGtdluWyCC8YDC4QQjz5js4pkRNC9EAgYKHrCAaDn5Yk6c+PHTtWdOnC7Vr/Xh6Xkexe3j1m+64joCjKOwEA38o0JBXhmYQQWuiXFgBAJBAlqZIdJJqQLRWolIU4IiN+qg2VsDZdlyLjZvUiUmhcMyCKAIAfG7Vtuqc74tQ9r/OS9mJI1tRmpgFOz8yJw3fVax1LSag9PSuWnGNb7Np73XpjjytB77ah6bGb97KaWBPhkyv2vR7klAuLuZHLx3VdNciPEPJEX1/fQ8XilvJovwEAeLezvnEEIUGV7M4QhOvvuymRQwh/civ8AC4Fm+1uy0h2uxFm49/yCCiK8i8AgDdyHPeF3t7eX9m44FdeeaU2mUx+HkD4C4AQJ0D8CsC6iyA+nhTdM6VUc9lQls2YigrUR+ydeclNis8e5dWQkY+cK3/2sFPzvN4L8pKsrieFuZErJyjRRXUOf2XCUlRQTSVfgrQMIyfgiK3trHEXawSdYVjb0D5msbsqnhZVSfvLHYtGGavJhFFVR1XVujvuuKMkDzMYDMYJIQZR00cQpWiNt3UotDTTUtvYcZ3+cIIQfj4QCPxWuTayfpsRYCTL3gqGwA4joCjKXQCApwEAqxBCQ2SeFlIgkFMxskSzVf6hbagHC7AGNcE+H5caRxyR0WNhe3veWqmZS3NEh/1AX0s1uhDip15aEtcpC91Zl2g74ATebLKKKc81XXSAAEQeG81e53a74fSJuu1tjcmDHCBrKS0pgqX/udcjifNhl4xHbcnIiju8stAEALgmy7KhhVzKQ4OhEEIfIYRQ3W3qFac5AEIUCQT89KqDPRVEgJFsBcFkQzEEykGgv7//jRDCzwAAaJrT2t8k4mIQEBFDhBOib0jjrSFbbOoE0qIiDf6JlECumTZxeqzWGp3spv/2xKR9MKmRdIrMEScNfFp/J2seC5tjUJZ9bk4aHYmhdEWgctZcqT4bCy3cSiRLSVWNRxyJWBio8ZgHQrCIMf4RAOBNuq6//rbbbisqnScX1gMDA/8LY/yz9N0jhFyUZdmoA82eyiLASLayeLLRGAJbRuCVV145lEgkPooQ+iVCCNWqzfA4EL1STd9JljuZeeysA4AfT93PbkzhWZi+sV+NRmvW9Kwg+OKEbVDDN0m53Lkr3c+UYqRpO972Q5XPP660wXnG07WkuDg10oa1pA0gNEoIeQ5g/GOE0HN+vz+rpvEOmsemKgMBRrJlgMa6MAR2GgFFUX5ICOmDEBql74xzW4h0ApAWcXQUXf81024zjzZJoPbEmPXsB1tjJ3hEU2bWJCKnb7xKPeuS5Rl3Ghs6H/VoEceRcmrD7oa9ueakJDs/drWVps/Isryn9JWrCcdqsoWRbDXtBrOFIVAEAoqi0MAeb2ZTgvhExF462W4MpFrTG075rgjpBGO+1EIDRSyh4k0eaYvQoJ09fye7RrLX6wKB3paKg8QG3BUEGMnuCuxsUobA1hFQFOU5ANBBADANhAGa4JiPSw0jpY4saGGfJTbTRvtFdA5bEUYIGvVPMQ2QeWlZnLmwym/p/q9Um0ptb9Ym3ut3soxkS9356m/PSLb694hZyBAoiIASDC4AQjyYs4SittYrBTtsaGCNzxzl1LCR4hPXIZY4klbk2gueLCVZCCFs6DpWMSGMUjGsRHtGspVAsbrGYCRbXfvBrGEIlIXAyy+/7NY0bYnqzYYd3WXlrnJapM4aM6QRgQYQ4QCGT82I12cTfNbqOWUZWoFO9zbEaA1V8N0Z62VzuEfaowH6Zeb0+Bbtbt9QBabZlSEMkh2/1hjw+327YgCbtOIIMJKtOKRsQIbA7iCQ0oUuqF+czzqkx9226OQ+Glp1dpWbGFy2pIt+t1mxcyyGaK3SqnxuheAnSrIL49eb/f7e+qoEmRlVMgKMZEuGjHVgCFQfAoqifJHK/FLLwo7uATN6qVxLDY1jAsirYWHyhFNdF4RTrcfHD7bGT4oIC3XN+64IkrVqfwzk2xNGsuW+sdXbj5Fs9e4Ns4whUDQC/f39VCuZiscb2T2q4JzTBNeCzkk5S5vlG3xj1DHm7EmVk8KW5ILnWoSf++mCOFq0cTvY0PBmEUeyqVZlMwNjXQwvTO0TJeey5KzZ9ZQZRrI7+LLs0FSMZHcIaDYNQ2AnEHjqqacsXq83XQ4OQE6jGlIaJy1TKcZSbCAEc/bIeA/l7aijwxB5WPNwCXhszF6VAUYPt0f9yEghRsDq8Ky66hvzVuTJVLRCCBFf59FdFbNgJFvKG7o32jKS3Rv7xKxkCBSNQDAYDBFC7KZEI4SQmAXSdc62nEsbuZgJzLJ6X5uwvRLWgVpMn51u83Bb1I/gmjwlzZ3NFXFsEqzN6ZqJhlZpoBHcbaJlJLvTb8v2z8dIdvsxZjMwBHYFgTNnztzJcdzzCKHf9/v9fx4MBs8BAI5gAhMAcShib70IwPpyZ4UMdcTGeoGWNNN7yKOjtl31/HLZm6lpTInW7W0fszic6eo8S5PDPYl4mNaoxY3dx41o7LmRSyd1XRNoe06UcH3LvrKitAthmO9zRrJbQa86+zKSrc59YVYxBLYNgWAw+P/RICkCgCGhqPKu2YRUP1HshJwW9knx2bY1/xhiKmz8kwXxxvVIdaT6mARrd3kiBOBIdHU5lQ5Dv+5Mn35ttRvFK2jhcowx/RFB024Bb7Hqdc3dRRWxLxY/RrKVQGrvjMFIdu/sFbOUIVBRBILB4OMAwncSjGl5M+O7IGH1Dam8s4g6pQQZdVxTT7Xc097fEj8pcVhwe9smzUCm0PJUQ2RxodU0lf6v09syZHfWLuUCNEW2a6X0drCEHvNkK/qKV8VgjGSrYhuYEQyB3UVAUZRrAAAqz0ir/mANSasxW/P1QlaZUchjMX7xh3PirotAmF5sJeUVzbtbWuWHYN2oiER/VGwH+SZjUfvyzHCz3++vKYQ9+3xvIMBIdm/sE7OSIbAjCAwMDHRgjGlB+cN0wqTFM5YUa9N3mRuNWCNZpD86Ku3YkWouIMySd3ZP46LTXV8xwqfHx7PDF9Jee8aZM6x05Z+U4lNLwO+v25ENZ5NsOwKMZLcdYjYBQ2BvIqAoylkI4XHqtEXt7ecx4pOZK7FFJ3qQHue/OmE9F9Hhus92Y8Xb4cXmW8fsyMUerOu8aLHqnpZ9FfmRkToubvH7exnJ7sZLtA1zMpLdBlDZkAyBWwWBwcHBPl3Xf0RTZI30H1tT+ghZTC7uFxNLNbMqt/z9KUvBo+XtxoSSrFRbt+qubcqbG1tJO9JHyRxPvB2HtxxprRmyitdaA36/p5J2srF2DwFGsruHPZuZIbBnEAgGg1OEkEbMWSJRW+slariQCDVbkrNNER0lvjohlVU4vlIA7LQXm2n39I1X/UaOLccRp6dpxup0Fx2pvXH9uqYK82NX2wMBf22lsGHj7C4CjGR3F382O0NgzyAQDAZ/GwDwpwQiPmzvfMUeGz8FtYQRgbubesb3tcROWDkicrxIvO0Ht+xNlrMh65Wjipd1zEqy41fbA35GsuXsQzX2YSRbjbvCbGIIVDECwYGBaQKghxAsmFpSER3GvzphPb/TZt8UnYCgsXv3a8nODJ3vpYXuaY6taHUknPVN13hevClzWQAg6skujF/r8Pt73TuNJZtvexBgJLs9uLJRGQK3NALBYHCGEEJFHgxFitRisypAnajRvB4B2/51XixJO7kQgLfXJlsOO7VGyeZMuBs7dvW4OtNWk2jNf6v1tY9bHK6ZQuuhnxskO3Gtw9/LSLYYvPZCG0aye2GXmI0MgSpEIBgMDhFCjCLvFptTTURDRhWgTKnFtzUku5ssmnm/WFEZxl9sjxp3oZXMia0kzCvTI92xaKhWtEi6p2V/UdHHa57s1U6WJ1vJndjdsRjJ7i7+bHaGwJ5GoL+//28hhB/mOE7jeAEmE3FTJYksqChyOSzMva420UWPT6mAg7LCj2IMiUck1p8uiGNbWXy1k+zU9XMBuu5SfgRgXePnRq90BwJ+11awYX2rBwFGstWzF8wShsCeREBRFFMQmCBBxEDXEMZ4/XcLhACkawGtLTOOYfJL41ZatKDkx5RPLKV2bMmTbLHD7PCFHowxb/fUrzrd+UvumVNRkp0fu9Lt9zOS3SL8VdOdkWzVbAUzhCGwNxFQFOUEAIAehxrVeajHijhOt9XUhWIrCzVUhtAsN6dpSQkkVcfS/Hi7rqnG9085kclmwBMtTWd31y8JFtuqaHUsVBuCN8vp1UZc3hYj9Snfg3WVnxu9ui8Q8DsLtWWf7w0EGMnujX1iVjIE9gQC/f39P4IQvsk0Nt9RKSGYnxm60LPxHrfYhZrHxWZ7gVbMqZDyUrE2FNPOJNpijo3XSPbK/kAgQIs2sOcWQICR7C2wiWwJDIFqQ0BRlHkAgCENmI9c5sau+HU1Cb81Yz23nChdmpG6zg+nAqDoXA1dR89CiLRqwcOUXrTaa+I1DW0FU5xSnuz+QMDPSLZaNnGLdjCS3SKArDtDgCGQHYGvfOUrXHd3NyU80th9PKtIxNLU8MlELCwMx/j55+bKT/Hpcau+XpfaZnW44jW+9oJktlN7tjhx7VAyEXfwgkDq2w4VFMqgJDs7dvWA7Pfbd8pGNs/2IsBIdnvxZaMzBF7TCCiKEqK6xw1dRwchRHgjGPOjl/2apsJy7mUzxzrqVOtP16odiOeJr33rGsKV3DRTdpGOCRGiScWEClUgDmGnp/kKREg359O0hDg/evW4LMvG/TZ79j4CjGT3/h6yFTAEqhoBGn0MIaQRyMTd0HbVYnOFTYNX5iYOx0JLhte2FaJ9Q53avt+uemnKjBlkVU2gZAhUZIp3GDoemUpVGGvc/OiVg37myVbT9m3JFkayW4KPdWYIMATyIdDf3/9GCOFzAAANQsjRSOONd7QrM6PHYpFVaStEa0YbW2zORG0VqT/lw4YGRG38UcBI9tb7e2Ike+vtKVsRQ6BqETBzauvb9r/KC1LCNDQRDvmWZkfa6P9PYKQuJEH0mVnpWrELoSRbrV5srjVkizpmJFvsju+ddoxk985eMUsZAnsegf7+/g9BCL9Az0wbu44NpI6RjXXRIKhkPCoQcvPq9isT1rNRHRaMFn6TN97VYcUeyeGKu6so8KmQJ0s/t9f6lp21PqMeLyPZPf+Kb1oAI9lbb0/ZihgCVYuAoigYIXSKEDJIq9X4Og+/jBCfDvwxDccYo9nhC71rni3Unhy3ns21KLeIpXc1xo9BiIDb21q0GP9ug5SIRxxLk0OHMu9lGcnu9q5Ufn5GspXHlI3IEGAIZEEgGAx+jRDyXgjhnwQCgU+YR8f58mhnhy/6MdYhARA/Nmod3Djsfa2Jk1akC/So2NPUdV2QbMt7CfzZ4QunMMYcjTq21dQv22s8wyzwaS/tYGFbGckWxoi1YAgwBLYBgcHBwad0Xb8bcZzm6ziS01OdG73sT0kwGhrJT0zYzh52qHUiAtxxp9q81+5iN0KZWfCdeuMQgqiu6ycQQt8GABwhhHAIob/w+/2/tw3bwIbcZgQYyW4zwGx4hgBDIDcC9PiY5rHYXZ5pZ33zRK6Wi1M3etR4jKe6yNmeYiQLq3UfKMkSWkAB8nGIVSPKOstDWO5ste5gfrsYye7NfWNWMwRuGQQURYkBAAxyadgQDJW5SNPjs9hroqJkjUeW5mppzXhf59GCSkrVDNbauiAIO7uDjsjISUB0DiMxHrW1XqR228OjxyFRLRDCzwQCgY9X81qYbZsRYCTL3gqGAENgVxE4c+bMr3Ac9/dUrIIa4vD4Jhxu38xGo0yS5TguQQDg8h0x7+qCSpw8k2RzdXWErhsF6unnhBB/X1/fpvvpEqdlzXcIAUayOwQ0m4YhwBDIj4CiKDQvdh9tJdnsy+7GLiOtxXzmxi77dXWtPJ75FLrP3QuYF0OydB3W6NQ+To+6U2ualmW5aS+s77VuIyPZ1/obwNbPEKgSBILBIK23epCqQhUiT13X+IXxqyexrhvfYbW+1msWh3ulSpZStBnpVCWOJ2FbR1HH3pleLUJo3u/3e4uekDXccQQYye445GxChgBDIBcCwWBQo9G0kt255G7ouFEIqfmxK72amqRi+jkr/RQaYzc/1/WkMDdy5aQqOKMJyWfcwRbzCOqKxxJf6ASA0O/wr8iyfF8x/VibnUeAkezOY85mZAgwBHIgoCjKRcTx+3wdh18pFqTZkUt+rGvGd9leijJemRtti4VWfdTuqLPrHAYoWeyazXamVwsh/BkAwBt4nv9cT09PpNRxWPvtQ4CR7PZhy0ZmCDAESkRAUZR+hLgeX+eRokmWTrE0PXQyEY1QUQpsdzeMO2rr58ypF6du7JdsjhVbjS/9byWaVfHmmbmxMXvrVR1ZVsudxBG6HtjQl6ZF3S/L8lfLHZP1qxwCjGQrhyUbiSHAENgiAoqiTAIAmsrxSGeGLgQydY9TpqRLy3Ecr9a37j8Puc0yjls0u6Tu6fqyiCdhe3H3sMVO4AgPnQIEc6n2s7IsNxTbl7XbHgQYyW4PrmxUhgBDoAwEFEWZBQDUN3YfLyoIKNsUupqwrS5M70vGwqIpXiHZXdF4ZNVmEu9Wxi9jWeu6mOITEUd3cKtj5erviAz1AIx5AMBvy7L8ue2ah41bGAFGsoUxYi0YAgyBHUKARhgTQg5WigSp9jGVXfR2HDZIe3Fy6FQyHuF8bYfOIkEoWN1nq8vOKNZOhyI0cpraU+4dbLH2iMmlBjGx2Iox/r9Pnz7934vtx9pVHgFGspXHlI3IEGAIlImAWUTA6vTM1nibx8ocJme3lYXpg7GVeefGeraVnoeOl3nvum58xJGwvbNsT70YW3k9UiNFp/fTthDCfw0EAncV04+1qTwCjGQrjykbkSHAENgCAsVU5yl3+OjKfMfqwnR9qr8phAwF0Raua+2+XO642fqtC26y+sZ13rlJxaqS82Ubyx667qeqyBzHvb+3t/dr2z0fG38zAoxk2VvBEGAIVBUClGQRx6m+jtIijItdBMGYnx252GPe19LjW/O/HR7vmMPdQO+FK/LMDF/oofPRAgDbeQebz9hUms+3ZVl+d0UWxQYpCQFGsiXBxRozBBgC242A6cmKVtuqp6n76nbPR8fXkwnbwtTQYTPflv5bORHO+TzasHPftgU65cJoTbRivhMA8Kosyyd3Aks2x3oEGMmyN4IhwBCoKgTM8nfUKNFqX/E0dVFN4x15VucnD1kk59LS7EibOaGnqfOiaHVESzVgeXqkOxZZraWeMtiBe9hM+4RkyGNJzHUAQBCEkPA872QiFaXuYGXaM5KtDI5sFIYAQ6CCCCiKMgoAaJMcNfNuX9tIBYcueqilqeGTiVhYsDlrZlzetvGiO6YamneyBPEkUuF82EK2UIEKCKGGEPqj3t7eTxdqzz7fPgQYyW4ftmxkhgBDoAwEBgcHe3Rdf5l25UVLtL71QNGavmVMl7fLzND5AL2v9TTvO09r2JYyvkmyO31M7AgP9wCi8xzHvau3t/fbpdjM2lYeAUaylceUjcgQYAhsAYH+/v7fgRB+1uFpGHO4vRULQirXpOmh8wFACLDX1k84axunC42zMj/enoyEanVdp2IQQLV4lhNi7bqyfYXGKOVzKT7XwekxJ83DhVi1pOrOfkOW5feWMg5ruz0IMJLdHlzZqAwBhkCZCCiK8nYAwPdS3XFj9/FdLVCuqwn7wsT1wxhjmnOKG7qO5bVnY37sdnqyjshwD8AGmZvpSBS2A7Isbxupl7mtr9lujGRfs1vPFs4QqF4EFEWh97A0+AjS49qmfSd2PDJ3Izpzo5f9uqZChJDu6zxqHGdnewyS3aZAJ2tich/UdBERzUII5lJf4N+UZfk91bubr23LGMm+tvefrZ4hUNUIDAwMRDDGNovNvlzb2LXr3tn82NVeTU0gm9M95/K20uCsTc923cVmlLUz5RkxxvgX+/r6Hq/qTXyNG8dI9jX+ArDlMwSqFYHMVB63t/W65HQvV4Otpkfradl3XrRsDoZamhnqSkQiHgAg0HlJjVmbSyrbl22NjvBQDyCYRwg94/f731YNODAbikOAkWxxOLFWDAGGwA4h0N/f/0sQwr8BAFiKuQPdIbPWTZPyVkmuQgbpcnYAgK3eydpi40eQlrBpmva+22+//eu7sV42Z/kIMJItHzvWkyHAEKgwAoqiJAEAAh0WIoQbOo/uatBTruXNjVzy67pGvz9zEm10aaJpdWmpWecd8Zi14Xy5UCFNlWyx0WMGJhDOBgIBViO2XDB3oR8j2V0AnU3JEGAIbEZgYGDgmxjjd2VGyiKO13wdh7d83LodeM8OX/BjjHMSrenNRu3tFzESSlaMyrQZEk2wh0eoLCKRZRltx3rYmNuDACPZ7cGVjcoQYAiUgMALL7xgFYQ0EdF0lIzvJkgau49ta2m4EkxNN92YqlPXvO+CIFljZoP0kfEWI40d4aFTgGCOEixC6K1+v/+H5djL+uwOAoxkdwd3NitDgCGQgcDg4OBbdF1/lurs0sLm5kf0Tra2seuyaLVtyRMsF2xNS4g8b6FH2JseSrKCxaZLdsdKaHHWk2pAiRBba+qnnLW+GZNokxb3iqBFnFBXN3mh+Sr08GqoRorP0rqw87Ise8tdB+u3ewgwkt097NnMDAGGQAYCAwMD78UYZ9Y8zXnfud3ALc+MdCWi4RpCCPUggWi1rnqa9qUrAsXjq47lydFDdU3d1wWrzYh6XpkdPxoLL1sBLQhAMrUhbloLEdIJxgbR0h8UGGMq4A903p6MWRvPZa7LTNlJtb0jEAi8uN3rZuNXHgFGspXHlI3IEGAIlIGAmbJD+QmhwspKZUxRsMvq/FRzdHWhKVtDxPOqr33tfjgWWXatzIwfEC1W3dOyb5MwxfLMyHGCCeIEy6qrvmlY15OCGo3aN6YhRRbnvKHlmXY6ZmYUspmyQ6vwAQCisiy7ChrPGlQlAoxkq3JbmFEMgdceAoqirAAInY1d23f/mu/4lyJu3rNyHE9Epztc42m8EgsttazMTTSmdoT4Og69gjWNn5+4fszqcsVr6tvLjhyeGTrvp8fjOm9PxKyNr5q7botOHER6nOoRB2VZll97b8Ots2JGsrfOXrKVMAT2NAKKolwGABysVLH0TDCiywv10dX5Bk1TJRpA5PI2jei6KjjdNwX/l6dHO+PR1Tp6fNvQdWyTjOPcyEW/ruvGdyaVeqTttmrrGqlDEHZ2r5vPPCrGGP/G6dOnac4we/YoAoxk9+jGMbMZArcaAsFgUCeEIN4iRepb9l8qZ32rixMtztqmKV1TBV6wJDK90xzjEavdPR+LLNenPof5iDMeDdevzo23Y12jGsbE13l0S1HPU9fP0bqvmwQrkK5abNHR49QmjuNO9/b29peDB+uz+wgwkt39PWAWMAT2JAKDg4Ov6+3t/fdKGU/vZJ019VP2usapUseMrMx5Qwtrd5vmY3qb9P8jhC5hjOvNCF1FUQYhhA5CCI3cTT+5vNhS7Sm2fUZh90TE3pE+Lqb9aeH1VC7TqCzLHcWOydpVFwKMZKtrP5g1DIGqRmBgYOCjGOPPm0bKslyx7xBFUYjNVTftqm+aKBUEk6wghK8SQjQAQDcAwAgWQgg94ff7H8o2Jp2T/ruv8+ggTb0pdd6ttDfTezCBAEICIs59G4+MAzSbiX4GIfxOIBB451bmY313B4GK/YHsjvlsVoYAQ2AnEejv7yfU26sEySqK8r8hhHcAADqo1wkAcJZ7x5khDJFWRHrppZcOnj59+ko+fMyI5nLn3Qr2M0Pne+nx+JNj0rn7W+MnIEzXhE0DHNE5bOeMe2BDWQpj/PbTp08/vZV5Wd+dRYCR7M7izWZjCOx5BBRFocIQEoTwh4FA4K2lLigYDH6fEHL3elUnY5Sy82LNKF1jEELm+/r6ihJuCAaDGs2F3WmSpVHO86NXTwCAyKOj0oDfrXUfcapuARKICSKLKsG1AuEeH7MZ3u2H2uKnOIg5Ks4RCASM3F327A0EGMnujX1iVjIEbhkEzCNaW039pKuucWp1YaoZIU531PpmtrLIuZFLJ3VdWysuAOGVQCBwqNB4wWAwSgixUm52ehpH7e76+UJ9KvG56XkrS8L8qyGBFqg3HgsH+IQO6HH3pufhtlgvggTxPF976tSpqij7VwksbvUxGMne6jvM1scQqCIEBgcH/5Ou639qr62fcNbeTJ+phImzI5dOOGq9y6vzU77UeEVJESqKogIAeIPkbDULtY1tw5WwJ98YlGTpXewXxqybUoVy9bNAwD3QFj0FAEjIskxTkdizBxBgJLsHNomZyBC4lRCgnqzVUTtX42sZrdS6TM/Q137wAuLFmBlUVIrXl1kk/qZd21OcgNpLg5oeK4FkqU33tURPWjmjFKAiy3JfpfBj42wfAoxktw9bNjJDgCGQgUB/f/+nIISfoKe5Do9v3OHe2vFwJriUtDLTbzQtKc6PXjkBIfzHQCDwy8VsRDAY/E1CyKcBAF+l1W4wxrRuq1Db3HF5dXay01nnG5fstcYxrUnihjoVDf8t8TH7Pzq6dudaynNPQ/xAgwW7EEIf9/v9nymlL2u78wgwkt15zNmMDIHXJAKm2ASAUG/sOrZJ79cEZWl6aL9gkaKO2qZJ+m+zwxd73I1tV0XJkbMSj+nJur1tk5KzZmp+4tphLRG3bzXFyLw/Nm1DHKdZHbWzkZX5ZvPf6loPnBPE7JV6cm308uxoZyy8WvdYGSRLx3ykPdYLAVHZsXH1/ykxkq3+PWIWMgT2PAIvvvjiG3ie/wldSF5Fpciye3lmfJ+5YKvDPRcLLxuRwo5a33iu4Ki0Z9l93PAMMda42eFL9P5yS0XOFUV5AQBwOwBgEQBglrPbtB81dU1D1po62qaoZ2lmeF8iEnaX48nSCd5Ql2zdb9d8rIB7UXDvaiNGsrsKhi+MdwAADuxJREFUP5ucIfDaQYB6hYIoheta91ON4qzP4szQvmQk4hZFSU8m4xtTVbKm+JheLOI44us4kpY5pIFQWNdECGEiEAhULFAoGAw+hTG+OzNfuNCPh42LNUvllUOyVo7w97XEerb6A+K18+bt7koZye4u/mx2hsBrBgHj6BVC3Nh1bDDbojFW+dnhy5Q8DG83Hl5pXJ4db1krz7p27UnrsTZ0HjWOmrV41Do/eeMI/Wee50l9++FNOsIzQxdOEWLkl8YDgQBN1anIs/EYOWPQonJ9KckuTY4eKve4+P6W+HGJw2I4HBbvuuuurCk/FVkoG2TLCDCS3TKEbACGAEOgGARS0bugxts6ZHW6lzb2mRm+2EOwzvOihOtb968jYl1N2OfHrx02yTazL0Ic8XXe9GBzjQsh1CCEH/L7/V8qxt58bRRF+SIA4EGzDYSQFjcwPO9ihC2oGMXMyNUTpthEqfY80h7zU4EodlxcKnI7356R7M5jzmZkCLwmERgYGHgeY3ynufiGjsMvQ46nRcnXHozR9PCFXvqfHM8Tb9uhl6nnmwnWyszosUQsbMEYG99dda37LwmiFCkE6OzIxR6s60YuLD0+xhhHEELPBgKB+wv1zfV5cGAgSjBe5x17WrsviKItVmjMhcnrB9V4zFnOcTEd++caEt3NFr0WIfQ6v99P743ZU6UIMJKt0o1hZjEEbkUEBgcH+zRNux9C+LFsMopYVfnZsbUjY/qINmfS09hxrlJYmAFSmeNR77ivr6+s78JgMBgjhFhsdte8q6G9YN4v9WBDc5PtoUjU9W+L4thIlJsrd22/2B6laUvTgUCgqdwxWL/tR6CsF2v7zWIzMAQYArc6AlQDGUIoNdBc0yyPSYiepq4h0WovOnK3FNxmhy+cwhjTY96yopD7+/v/ACH036jQf6Fj4kyC/+dp65WFJAyVYmtm23t8yf0NklYDAPieLMv3ljsO67f9CDCS3X6M2QwMAYZAFgQoMQWDwVUIodUIZsoQdTAJqdB9ayWAnRk6fyp1nzomy3L7Sy+99Mjp06cfK3ZsUynKYrUv1zZ1Xc/Wb27kYo+u6zytqnM9jFYHVoSs7YqZk4cEfbAtRtOTYrIs24vpw9rsHgKMZHcPezYzQ4AhAACgIv20qo+v88jLofnJ5mhomSotAY7jiDcjJWc7wdp4jFyKiEWaZCX7am1z19WNdppH4FRG8XuzlqvzCbS6lbUcsGu1r69LdrGgp62guHN9GcnuHNZsJoYAQyAHAsFgMEEIEemx7VqmDiK+zqNZj5G3C0Qzr5aOXwrJBoPBJwkh9+c7Ls6odwso2T47ZxmajKOyjsBFDnAPthiFAv4fWZb/eLvwYONWBgFGspXBkY3CEGAIbAGB/v7+34QQ/q/MITheIN72QztKtNND5/2AEE2WZUr4RT/Um0UIYV8qhzdXx0yyLTeymI59X0vshJUj35Vl+b1FG8ka7goCjGR3BXY2KUOAIbARAUVRTgMAzmT+e6FgokqjuFYdp/ii7+b8AwMDj2GMP1Qk0fqpt34+JKz2LwmbjpeLWdOH2qK9HASrsizXFtOetdk9BBjJ7h72bGaGAEMgCwLpknMIkcYdPjKmJIsQUv1+f0meLF2GoijTAAB6n1xQ9cn0aMv1Zh9uj51CgLwgy3I675i9TNWJACPZ6twXZhVD4DWNQDAYXCCEeBBCeqEj2EoCZQZAQQi/EwgE3lnq2GalIZenccTmrp/Pc2xseLNfnrSdi2kgWeo8j7RHT0EA7pJl+ael9mXtdxYBRrI7izebjSHAECgSAZpHCwCwChZrqK5l35Uiu2252dT1c0Zt2lKCnzInVRQlDiESGrqOZtVopm3nRi4f1XXVuqrz2jcmxLOlGP2G+mRDl1V/5ba+wDtK6cfa7g4CjGR3B3c2K0OAIVAEAqYQ/07ezZrebLkk+8lPfhLde++9eqGKQ+aR8XMLlonhCEePmgs+++ya+3WepLXG6Th8+PDhssUsCk7EGlQMAUayFYOSDcQQYAhUGoFgMPgMIeStdFyL3bVY29A+RP87tDDZEguv1EMICcEY8RZbSLK5lm01noWt2LC6ONUcXV5oosUEAoGAUO5YiqLoCHHY13kkp5da6r2shQPce5pj3RICHwgEAj8o1zbWb2cRYCS7s3iz2RgCDIESEThz5oyL47hleoeZpSstIIDM/Fr6OS2HR8nX7Wu9JlqdBYsHZI4ZXpptCC/NtkIIZwOBgCGKUeozMDBwEWN8GEKIG3KU9TOPpOnY2YKf3AK2LKsoQT8/UaN6my24xmvBNBjrb2/vC1DdZ/bsEQQYye6RjWJmMgReywgoivJ6hNAzGGMaJJSQZbkxGx6KonwZQngbhLAZY2x4opzFGvG27LtULH5bPS4udMRt1rglAJHHRqVNecD3t8aPWBAtm0dE+gVNgBEYdR1B+JNAIPDrxa6DtasOBBjJVsc+MCsYAgyBCiPw8ssvn9I07UVazIcGMvGiJVbXsv9ioWnMY9xy7mSfe+45yeFwxDieV73th1/ZONfM0PleqtlMa9A/NmYLZn7e49a87ZIu1Aq60CcHfAMDA1+MRqOfuPPOO28Uspl9Xr0IMJKt3r1hljEEGAIVQmBgYGASY0y9XyrZqDtrG0etNZ6ssoapXNkxv9/fXsr0VIOZEGLUl80WqDU/duWopiatACDy6AYP1iVg8T1N8eMAgGdkWb67lHlZ2+pGgJFsde8Ps44hwBCoIAIDAwPXCCFeQojLOErmhYS37eD5DRWAAqkjaanYqWmgk3k3TO9h6Z3wxr6UvOkF8hdG13uwtN0jtDYsACAcDlvvuuuueLHzsnbVjwAj2erfI2YhQ4AhUGEEzpw508Nx3E9pPVtCCA8AJLW+luuivWZ1huoXr937FkWyZ86c+RWO4/4+n3BGaHG6MbI8//+3dz+/UZRxHMfnmZ1FKq0VS7GhKYhYJVbtZueZcPRi8GJijJpw0D+Ak3Lyf/DEibvxrNGDGi7GI5TnGZKmJUQDKOVHbEOhpbKldOcxT9nFmhRZZJmdZ553r93O8/2+vpt+srMz84zOLEfL6ta2fz1K8ZO9jVoUmEqz2fzi0KFDX3a5VQ7XYwFCtscDYHkEEOitgNb6e2OM3fjcXqW88ROG4Uf1ev2bTirTWq8aY57pdBee9tXEOyqm+vFo4y27hjHmepIkezpZj9e4JUDIujUvqkUAgackkKapzrJsPIqid2q12lSny2itbxtj+h8WsmuNOzsWr188eD9MRfDVXJ+297weGd14NGIghDgXx/FEp+vxOrcECFm35kW1CCBQMIHz588PrKysLNvvYV/cP7Hl1nz3d/cRweK6WBmqmh1BYDb+9/6fK5gL1j7lPEKAkOUtggACCDyhwNmzZ482m80T9jBbfaK9dnGmHtovfk1wT4hgTQhxNY7j155wWf7cAQFC1oEhUSICCBRfIE3TI8aYr+2FVJUouju89+BMu+rWvbdGSvnge9/id0SF3RAgZLuhyDEQQACBloBSyn5SjYwxYnD3yKW+/l2LrYdQCCHEz1mWfZ4kyYMABq7cAoRsuedLdwgg0AOBqampkTAMr7Wet2wGd49dWJqfe6VdSrVa7Z+cnHys5yr3oA2W7IIAIdsFRA6BAAIIbCWgtf7FGPO2/Z3dMKBv4PmFO8s37cYDRgjxRxzH+5ErtwAhW+750h0CCBRAQClld9Sxu+iYkZffSP95hrE5IoSw3+P+kCTJBwUolRK6LEDIdhmUwyGAAAJbCaRpeiLLsqP2dwMvDM/dXlwY27xFX+tvvpVSfohgeQQI2fLMkk4QQKDgAkqpA0KIX+3ZY2O34tk4iyyyZ5/bOf/X0mJ7+z6uQi74HB+nPEL2cbR4LQIIINAFgTNnzpwUQhy2h4qq2xq7xl4911y/V71x5bfXsyyLeEhFF5ALcghCtiCDoAwEEPBPQCllN+YRQ3sOzFa3960uLVzd27h9czgIgstSyn3+iZSvY0K2fDOlIwQQcEhAKbVx3rj9pCi7C5Axxp4yrjjUBqU+RICQ5a2BAAII9FBgenr6zbW1ten2lcetp0N1vNVeD0tn6Q4ECNkOkHgJAggg8DQFlFJXgyDYU4mqq831e3Yf23kppb2flh/HBQhZxwdI+QggUA6B9vezm27ruSKltLf58OOwACHr8PAoHQEEyiWgtV4XYWhMloXGGLuZwAUp5YPHMZarWz+6IWT9mDNdIoCAAwJpmp7Msuzw4NDI70uLf+4LjJnjKmMHBvcfJRKybs+P6hFAoGQC7dPG9iEV9tMs98y6PWBC1u35UT0CCJRMQCn1UxAE79q27HZ5SZLwf9rhGTM8h4dH6QggUE4BrXWWGSNEEPCIRcdHTMg6PkDKRwCB8gkorZcDYwZsZ1EU7azVarfK16UfHRGyfsyZLhFAwCGBmZmZZHV1dapVclNKGTlUPqVuEiBkeTsggAACBRRQSl0OgmDjPlkhxLE4jo8XsExKeoQAIctbBAEEECioQPu5xrY8rjIu6JAIWTcHQ9UIIIDApqdA3ZBS7kLEPQE+ybo3MypGAAEPBE6fPv1+pVL5rtVqxq48bg6dkHVzblSNAAIlF9h8qlgIcS6O44mSt1zK9gjZUo6VphBAwGWB2dnZbY1G424YhutZlkWDg4Pbx8fH77rck6+1E7K+Tp6+EUCgsAJa68+MMfZqYruhuwjD8Hi9Xj9W2IIp7KEChCxvDgQQQKCAApu3vpNS2h15+HFQgJB1cGiUjAACfggopeaFEJ/GcXzSj47L1yUhW76Z0hECCJRI4NSpUy9FUXTJ7soTx3GlRK150Qoh68WYaRIBBFwWsKeOwzD8sV6vv+dyHz7WTsj6OHV6RgABBBDIRYCQzYWZRRBAAAEEfBQgZH2cOj0jgAACCOQiQMjmwswiCCCAAAI+ChCyPk6dnhFAAAEEchEgZHNhZhEEEEAAAR8FCFkfp07PCCCAAAK5CBCyuTCzCAIIIICAjwKErI9Tp2cEEEAAgVwECNlcmFkEAQQQQMBHAULWx6nTMwIIIIBALgKEbC7MLIIAAggg4KMAIevj1OkZAQQQQCAXAUI2F2YWQQABBBDwUeBvKGHCyxcSezcAAAAASUVORK5CYII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es-ES" altLang="es-CR">
              <a:solidFill>
                <a:srgbClr val="696969"/>
              </a:solidFill>
            </a:endParaRPr>
          </a:p>
        </p:txBody>
      </p:sp>
      <p:sp>
        <p:nvSpPr>
          <p:cNvPr id="63" name="62 CuadroTexto"/>
          <p:cNvSpPr txBox="1"/>
          <p:nvPr/>
        </p:nvSpPr>
        <p:spPr>
          <a:xfrm>
            <a:off x="503927" y="2996952"/>
            <a:ext cx="31266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CR" sz="1600" dirty="0" smtClean="0">
                <a:solidFill>
                  <a:schemeClr val="bg1">
                    <a:lumMod val="50000"/>
                  </a:schemeClr>
                </a:solidFill>
              </a:rPr>
              <a:t>Sucursal Santo Domingo</a:t>
            </a:r>
            <a:endParaRPr lang="es-CR" sz="16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72" name="71 Conector"/>
          <p:cNvSpPr/>
          <p:nvPr/>
        </p:nvSpPr>
        <p:spPr>
          <a:xfrm flipH="1">
            <a:off x="335403" y="3104897"/>
            <a:ext cx="142875" cy="144462"/>
          </a:xfrm>
          <a:prstGeom prst="flowChartConnector">
            <a:avLst/>
          </a:prstGeom>
          <a:solidFill>
            <a:srgbClr val="FF6600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MX" dirty="0">
              <a:solidFill>
                <a:srgbClr val="FFFFFF"/>
              </a:solidFill>
            </a:endParaRPr>
          </a:p>
        </p:txBody>
      </p:sp>
      <p:sp>
        <p:nvSpPr>
          <p:cNvPr id="32" name="Rectangle 2"/>
          <p:cNvSpPr txBox="1">
            <a:spLocks noChangeArrowheads="1"/>
          </p:cNvSpPr>
          <p:nvPr/>
        </p:nvSpPr>
        <p:spPr bwMode="auto">
          <a:xfrm>
            <a:off x="251520" y="548605"/>
            <a:ext cx="8280920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+mj-lt"/>
                <a:ea typeface="MS PGothic" pitchFamily="34" charset="-128"/>
                <a:cs typeface="MS PGothic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altLang="es-CR" kern="0" dirty="0" smtClean="0">
                <a:solidFill>
                  <a:srgbClr val="FF3700"/>
                </a:solidFill>
              </a:rPr>
              <a:t>Our Distribution Network – Dominican Republic</a:t>
            </a:r>
          </a:p>
        </p:txBody>
      </p:sp>
      <p:pic>
        <p:nvPicPr>
          <p:cNvPr id="58370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=""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 l="911" t="1072" r="651" b="1972"/>
          <a:stretch/>
        </p:blipFill>
        <p:spPr bwMode="auto">
          <a:xfrm>
            <a:off x="2865899" y="1772816"/>
            <a:ext cx="6170597" cy="4170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3" name="32 Conector"/>
          <p:cNvSpPr/>
          <p:nvPr/>
        </p:nvSpPr>
        <p:spPr>
          <a:xfrm flipH="1">
            <a:off x="6157317" y="4148634"/>
            <a:ext cx="142875" cy="144462"/>
          </a:xfrm>
          <a:prstGeom prst="flowChartConnector">
            <a:avLst/>
          </a:prstGeom>
          <a:solidFill>
            <a:srgbClr val="FF6600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MX" dirty="0">
              <a:solidFill>
                <a:srgbClr val="FFFFFF"/>
              </a:solidFill>
            </a:endParaRPr>
          </a:p>
        </p:txBody>
      </p:sp>
      <p:sp>
        <p:nvSpPr>
          <p:cNvPr id="2" name="1 Rectángulo"/>
          <p:cNvSpPr/>
          <p:nvPr/>
        </p:nvSpPr>
        <p:spPr>
          <a:xfrm>
            <a:off x="7644594" y="5517232"/>
            <a:ext cx="1440160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R"/>
          </a:p>
        </p:txBody>
      </p:sp>
    </p:spTree>
    <p:extLst>
      <p:ext uri="{BB962C8B-B14F-4D97-AF65-F5344CB8AC3E}">
        <p14:creationId xmlns="" xmlns:p14="http://schemas.microsoft.com/office/powerpoint/2010/main" val="117170785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5" cstate="print">
            <a:lum/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Object 446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817457431"/>
              </p:ext>
            </p:extLst>
          </p:nvPr>
        </p:nvGraphicFramePr>
        <p:xfrm>
          <a:off x="1629" y="1614"/>
          <a:ext cx="1587" cy="1587"/>
        </p:xfrm>
        <a:graphic>
          <a:graphicData uri="http://schemas.openxmlformats.org/presentationml/2006/ole">
            <p:oleObj spid="_x0000_s51216" name="think-cell Slide" r:id="rId6" imgW="270" imgH="270" progId="">
              <p:embed/>
            </p:oleObj>
          </a:graphicData>
        </a:graphic>
      </p:graphicFrame>
      <p:sp>
        <p:nvSpPr>
          <p:cNvPr id="5124" name="Rectangle 16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spc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altLang="en-US" sz="1000" dirty="0">
              <a:solidFill>
                <a:srgbClr val="FAFFFF"/>
              </a:solidFill>
              <a:cs typeface="Arial"/>
              <a:sym typeface="Arial"/>
            </a:endParaRPr>
          </a:p>
        </p:txBody>
      </p:sp>
      <p:sp>
        <p:nvSpPr>
          <p:cNvPr id="14" name="13 Rectángulo"/>
          <p:cNvSpPr/>
          <p:nvPr/>
        </p:nvSpPr>
        <p:spPr>
          <a:xfrm>
            <a:off x="0" y="0"/>
            <a:ext cx="3779912" cy="6858000"/>
          </a:xfrm>
          <a:prstGeom prst="rect">
            <a:avLst/>
          </a:prstGeom>
          <a:solidFill>
            <a:schemeClr val="bg1">
              <a:lumMod val="50000"/>
              <a:alpha val="56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R">
              <a:solidFill>
                <a:prstClr val="white"/>
              </a:solidFill>
            </a:endParaRPr>
          </a:p>
        </p:txBody>
      </p:sp>
      <p:sp>
        <p:nvSpPr>
          <p:cNvPr id="13" name="12 CuadroTexto"/>
          <p:cNvSpPr txBox="1"/>
          <p:nvPr/>
        </p:nvSpPr>
        <p:spPr>
          <a:xfrm>
            <a:off x="323528" y="548680"/>
            <a:ext cx="4464496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 dirty="0" smtClean="0">
                <a:solidFill>
                  <a:srgbClr val="FFFFFF"/>
                </a:solidFill>
              </a:rPr>
              <a:t>Our </a:t>
            </a:r>
          </a:p>
          <a:p>
            <a:r>
              <a:rPr lang="en-US" sz="5000" dirty="0" smtClean="0">
                <a:solidFill>
                  <a:srgbClr val="FFFFFF"/>
                </a:solidFill>
              </a:rPr>
              <a:t>essence</a:t>
            </a:r>
            <a:endParaRPr lang="en-US" sz="5000" dirty="0">
              <a:solidFill>
                <a:srgbClr val="FFFFFF"/>
              </a:solidFill>
            </a:endParaRPr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>
          <a:xfrm>
            <a:off x="179512" y="2564904"/>
            <a:ext cx="3600400" cy="4293096"/>
          </a:xfrm>
          <a:prstGeom prst="rect">
            <a:avLst/>
          </a:prstGeom>
        </p:spPr>
        <p:txBody>
          <a:bodyPr vert="horz" lIns="91440" tIns="45720" rIns="91440" bIns="45720" rtlCol="0">
            <a:normAutofit fontScale="70000" lnSpcReduction="20000"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s-ES" sz="3800" dirty="0" smtClean="0">
                <a:solidFill>
                  <a:srgbClr val="FFFFFF"/>
                </a:solidFill>
              </a:rPr>
              <a:t>Our </a:t>
            </a:r>
            <a:r>
              <a:rPr lang="en-US" altLang="es-ES" sz="3800" dirty="0" smtClean="0">
                <a:solidFill>
                  <a:srgbClr val="FF0000"/>
                </a:solidFill>
              </a:rPr>
              <a:t>product</a:t>
            </a:r>
            <a:r>
              <a:rPr lang="en-US" altLang="es-ES" sz="3800" dirty="0" smtClean="0">
                <a:solidFill>
                  <a:srgbClr val="FFFFFF"/>
                </a:solidFill>
              </a:rPr>
              <a:t> is </a:t>
            </a:r>
            <a:r>
              <a:rPr lang="en-US" altLang="es-ES" sz="3800" dirty="0" smtClean="0">
                <a:solidFill>
                  <a:srgbClr val="FF0000"/>
                </a:solidFill>
              </a:rPr>
              <a:t>steel</a:t>
            </a:r>
            <a:r>
              <a:rPr lang="en-US" altLang="es-ES" sz="3800" dirty="0" smtClean="0">
                <a:solidFill>
                  <a:srgbClr val="FFFFFF"/>
                </a:solidFill>
              </a:rPr>
              <a:t>, but the </a:t>
            </a:r>
            <a:r>
              <a:rPr lang="en-US" altLang="es-ES" sz="3800" dirty="0" smtClean="0">
                <a:solidFill>
                  <a:srgbClr val="FF0000"/>
                </a:solidFill>
              </a:rPr>
              <a:t>value</a:t>
            </a:r>
            <a:r>
              <a:rPr lang="en-US" altLang="es-ES" sz="3800" dirty="0" smtClean="0">
                <a:solidFill>
                  <a:srgbClr val="FFFFFF"/>
                </a:solidFill>
              </a:rPr>
              <a:t> comes from our </a:t>
            </a:r>
            <a:r>
              <a:rPr lang="en-US" altLang="es-ES" sz="3800" dirty="0" smtClean="0">
                <a:solidFill>
                  <a:srgbClr val="FF0000"/>
                </a:solidFill>
              </a:rPr>
              <a:t>people</a:t>
            </a:r>
            <a:r>
              <a:rPr lang="en-US" altLang="es-ES" sz="3800" dirty="0" smtClean="0">
                <a:solidFill>
                  <a:srgbClr val="FFFFFF"/>
                </a:solidFill>
              </a:rPr>
              <a:t>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s-ES" sz="3800" dirty="0" smtClean="0">
                <a:solidFill>
                  <a:srgbClr val="FFFFFF"/>
                </a:solidFill>
              </a:rPr>
              <a:t>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s-ES" sz="3800" dirty="0" smtClean="0">
                <a:solidFill>
                  <a:srgbClr val="FFFFFF"/>
                </a:solidFill>
              </a:rPr>
              <a:t>We are </a:t>
            </a:r>
            <a:r>
              <a:rPr lang="en-US" altLang="es-ES" sz="3800" dirty="0" smtClean="0">
                <a:solidFill>
                  <a:srgbClr val="FF0000"/>
                </a:solidFill>
              </a:rPr>
              <a:t>entrepreneurs</a:t>
            </a:r>
            <a:r>
              <a:rPr lang="en-US" altLang="es-ES" sz="3800" dirty="0" smtClean="0">
                <a:solidFill>
                  <a:srgbClr val="FFFFFF"/>
                </a:solidFill>
              </a:rPr>
              <a:t> and we have an </a:t>
            </a:r>
            <a:r>
              <a:rPr lang="en-US" altLang="es-ES" sz="3800" dirty="0" smtClean="0">
                <a:solidFill>
                  <a:srgbClr val="FF0000"/>
                </a:solidFill>
              </a:rPr>
              <a:t>innovative</a:t>
            </a:r>
            <a:r>
              <a:rPr lang="en-US" altLang="es-ES" sz="3800" dirty="0" smtClean="0">
                <a:solidFill>
                  <a:srgbClr val="FFFFFF"/>
                </a:solidFill>
              </a:rPr>
              <a:t> </a:t>
            </a:r>
            <a:r>
              <a:rPr lang="en-US" altLang="es-ES" sz="3800" dirty="0" smtClean="0">
                <a:solidFill>
                  <a:srgbClr val="FF0000"/>
                </a:solidFill>
              </a:rPr>
              <a:t>spirit</a:t>
            </a:r>
            <a:r>
              <a:rPr lang="en-US" altLang="es-ES" sz="3800" dirty="0" smtClean="0">
                <a:solidFill>
                  <a:srgbClr val="FFFFFF"/>
                </a:solidFill>
              </a:rPr>
              <a:t>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s-ES" sz="3800" dirty="0" smtClean="0">
              <a:solidFill>
                <a:srgbClr val="FFFFFF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s-ES" sz="3800" dirty="0" smtClean="0">
                <a:solidFill>
                  <a:srgbClr val="FFFFFF"/>
                </a:solidFill>
              </a:rPr>
              <a:t>It allows us to </a:t>
            </a:r>
            <a:r>
              <a:rPr lang="en-US" altLang="es-ES" sz="3800" dirty="0" smtClean="0">
                <a:solidFill>
                  <a:srgbClr val="FF0000"/>
                </a:solidFill>
              </a:rPr>
              <a:t>successfully</a:t>
            </a:r>
            <a:r>
              <a:rPr lang="en-US" altLang="es-ES" sz="3800" dirty="0" smtClean="0">
                <a:solidFill>
                  <a:srgbClr val="FFFFFF"/>
                </a:solidFill>
              </a:rPr>
              <a:t> reach all our </a:t>
            </a:r>
            <a:r>
              <a:rPr lang="en-US" altLang="es-ES" sz="3800" dirty="0" smtClean="0">
                <a:solidFill>
                  <a:srgbClr val="FF0000"/>
                </a:solidFill>
              </a:rPr>
              <a:t>objectives</a:t>
            </a:r>
            <a:r>
              <a:rPr lang="en-US" altLang="es-ES" sz="3800" dirty="0" smtClean="0">
                <a:solidFill>
                  <a:srgbClr val="FFFFFF"/>
                </a:solidFill>
              </a:rPr>
              <a:t>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_tradnl" altLang="es-ES" sz="2900" b="1" dirty="0">
              <a:solidFill>
                <a:srgbClr val="FFFFFF"/>
              </a:solidFill>
            </a:endParaRPr>
          </a:p>
          <a:p>
            <a:pPr marL="342900" indent="-342900">
              <a:lnSpc>
                <a:spcPct val="95000"/>
              </a:lnSpc>
              <a:spcBef>
                <a:spcPct val="20000"/>
              </a:spcBef>
              <a:buFont typeface="Arial" pitchFamily="34" charset="0"/>
              <a:buChar char="•"/>
              <a:defRPr/>
            </a:pPr>
            <a:endParaRPr lang="es-ES" altLang="es-ES" dirty="0">
              <a:solidFill>
                <a:prstClr val="white">
                  <a:lumMod val="75000"/>
                </a:prstClr>
              </a:solidFill>
              <a:latin typeface="VAGRounded-Light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58659352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Object 446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851721328"/>
              </p:ext>
            </p:extLst>
          </p:nvPr>
        </p:nvGraphicFramePr>
        <p:xfrm>
          <a:off x="1629" y="1614"/>
          <a:ext cx="1587" cy="1587"/>
        </p:xfrm>
        <a:graphic>
          <a:graphicData uri="http://schemas.openxmlformats.org/presentationml/2006/ole">
            <p:oleObj spid="_x0000_s9232" name="think-cell Slide" r:id="rId5" imgW="270" imgH="270" progId="">
              <p:embed/>
            </p:oleObj>
          </a:graphicData>
        </a:graphic>
      </p:graphicFrame>
      <p:sp>
        <p:nvSpPr>
          <p:cNvPr id="5124" name="Rectangle 16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spc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altLang="en-US" sz="1000" dirty="0">
              <a:solidFill>
                <a:srgbClr val="FAFFFF"/>
              </a:solidFill>
              <a:cs typeface="Arial"/>
              <a:sym typeface="Arial"/>
            </a:endParaRPr>
          </a:p>
        </p:txBody>
      </p:sp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619622"/>
            <a:ext cx="9144000" cy="2457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2 Rectángulo"/>
          <p:cNvSpPr/>
          <p:nvPr/>
        </p:nvSpPr>
        <p:spPr>
          <a:xfrm>
            <a:off x="228241" y="4581128"/>
            <a:ext cx="8664239" cy="18466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5000"/>
              </a:lnSpc>
              <a:spcBef>
                <a:spcPct val="20000"/>
              </a:spcBef>
              <a:defRPr/>
            </a:pPr>
            <a:r>
              <a:rPr lang="en-US" altLang="es-ES" sz="2800" b="1" dirty="0" smtClean="0">
                <a:solidFill>
                  <a:srgbClr val="FF3700"/>
                </a:solidFill>
              </a:rPr>
              <a:t>ArcelorMittal </a:t>
            </a:r>
            <a:r>
              <a:rPr lang="en-US" altLang="es-ES" sz="2800" b="1" dirty="0">
                <a:solidFill>
                  <a:srgbClr val="FF3700"/>
                </a:solidFill>
              </a:rPr>
              <a:t>Costa </a:t>
            </a:r>
            <a:r>
              <a:rPr lang="en-US" altLang="es-ES" sz="2800" b="1" dirty="0" smtClean="0">
                <a:solidFill>
                  <a:srgbClr val="FF3700"/>
                </a:solidFill>
              </a:rPr>
              <a:t>Rica</a:t>
            </a:r>
            <a:endParaRPr lang="en-US" altLang="es-ES" sz="1900" dirty="0" smtClean="0">
              <a:solidFill>
                <a:srgbClr val="696969"/>
              </a:solidFill>
            </a:endParaRPr>
          </a:p>
          <a:p>
            <a:pPr algn="ctr">
              <a:lnSpc>
                <a:spcPct val="95000"/>
              </a:lnSpc>
              <a:spcBef>
                <a:spcPct val="20000"/>
              </a:spcBef>
              <a:defRPr/>
            </a:pPr>
            <a:r>
              <a:rPr lang="en-US" altLang="es-ES" sz="1900" dirty="0" smtClean="0">
                <a:solidFill>
                  <a:srgbClr val="696969"/>
                </a:solidFill>
              </a:rPr>
              <a:t>is a producer of steel products for</a:t>
            </a:r>
          </a:p>
          <a:p>
            <a:pPr algn="ctr">
              <a:lnSpc>
                <a:spcPct val="95000"/>
              </a:lnSpc>
              <a:spcBef>
                <a:spcPct val="20000"/>
              </a:spcBef>
              <a:defRPr/>
            </a:pPr>
            <a:r>
              <a:rPr lang="en-US" altLang="es-ES" sz="1900" dirty="0" smtClean="0">
                <a:solidFill>
                  <a:srgbClr val="696969"/>
                </a:solidFill>
              </a:rPr>
              <a:t>the construction sector, </a:t>
            </a:r>
          </a:p>
          <a:p>
            <a:pPr algn="ctr">
              <a:lnSpc>
                <a:spcPct val="95000"/>
              </a:lnSpc>
              <a:spcBef>
                <a:spcPct val="20000"/>
              </a:spcBef>
              <a:defRPr/>
            </a:pPr>
            <a:r>
              <a:rPr lang="en-US" altLang="es-ES" sz="1900" dirty="0" smtClean="0">
                <a:solidFill>
                  <a:srgbClr val="696969"/>
                </a:solidFill>
              </a:rPr>
              <a:t>the agriculture and </a:t>
            </a:r>
          </a:p>
          <a:p>
            <a:pPr algn="ctr">
              <a:lnSpc>
                <a:spcPct val="95000"/>
              </a:lnSpc>
              <a:spcBef>
                <a:spcPct val="20000"/>
              </a:spcBef>
              <a:defRPr/>
            </a:pPr>
            <a:r>
              <a:rPr lang="en-US" altLang="es-ES" sz="1900" dirty="0" smtClean="0">
                <a:solidFill>
                  <a:srgbClr val="696969"/>
                </a:solidFill>
              </a:rPr>
              <a:t>the industry.</a:t>
            </a:r>
            <a:endParaRPr lang="en-US" altLang="es-ES" sz="1900" dirty="0">
              <a:solidFill>
                <a:srgbClr val="696969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06685811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Object 446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772400038"/>
              </p:ext>
            </p:extLst>
          </p:nvPr>
        </p:nvGraphicFramePr>
        <p:xfrm>
          <a:off x="1629" y="1614"/>
          <a:ext cx="1587" cy="1587"/>
        </p:xfrm>
        <a:graphic>
          <a:graphicData uri="http://schemas.openxmlformats.org/presentationml/2006/ole">
            <p:oleObj spid="_x0000_s12308" name="think-cell Slide" r:id="rId5" imgW="270" imgH="270" progId="">
              <p:embed/>
            </p:oleObj>
          </a:graphicData>
        </a:graphic>
      </p:graphicFrame>
      <p:sp>
        <p:nvSpPr>
          <p:cNvPr id="5124" name="Rectangle 16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spc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altLang="en-US" sz="1000" dirty="0">
              <a:solidFill>
                <a:srgbClr val="FAFFFF"/>
              </a:solidFill>
              <a:cs typeface="Arial"/>
              <a:sym typeface="Arial"/>
            </a:endParaRPr>
          </a:p>
        </p:txBody>
      </p:sp>
      <p:pic>
        <p:nvPicPr>
          <p:cNvPr id="12292" name="Picture 4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171" r="3518"/>
          <a:stretch/>
        </p:blipFill>
        <p:spPr bwMode="auto">
          <a:xfrm>
            <a:off x="108642" y="1111250"/>
            <a:ext cx="8836182" cy="4635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467544" y="692696"/>
            <a:ext cx="8234363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+mj-lt"/>
                <a:ea typeface="MS PGothic" pitchFamily="34" charset="-128"/>
                <a:cs typeface="MS PGothic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altLang="es-CR" sz="3200" dirty="0" smtClean="0">
                <a:solidFill>
                  <a:srgbClr val="FF3700"/>
                </a:solidFill>
                <a:ea typeface="MS PGothic"/>
                <a:cs typeface="+mn-cs"/>
              </a:rPr>
              <a:t>Our Strategy</a:t>
            </a:r>
            <a:endParaRPr lang="en-US" altLang="es-CR" sz="3200" dirty="0">
              <a:solidFill>
                <a:srgbClr val="FF3700"/>
              </a:solidFill>
              <a:ea typeface="MS PGothic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67731160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Object 446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908909875"/>
              </p:ext>
            </p:extLst>
          </p:nvPr>
        </p:nvGraphicFramePr>
        <p:xfrm>
          <a:off x="1629" y="1614"/>
          <a:ext cx="1587" cy="1587"/>
        </p:xfrm>
        <a:graphic>
          <a:graphicData uri="http://schemas.openxmlformats.org/presentationml/2006/ole">
            <p:oleObj spid="_x0000_s17427" name="think-cell Slide" r:id="rId5" imgW="270" imgH="270" progId="">
              <p:embed/>
            </p:oleObj>
          </a:graphicData>
        </a:graphic>
      </p:graphicFrame>
      <p:sp>
        <p:nvSpPr>
          <p:cNvPr id="5124" name="Rectangle 16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spc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altLang="en-US" sz="1000" dirty="0">
              <a:solidFill>
                <a:srgbClr val="FAFFFF"/>
              </a:solidFill>
              <a:cs typeface="Arial"/>
              <a:sym typeface="Arial"/>
            </a:endParaRPr>
          </a:p>
        </p:txBody>
      </p:sp>
      <p:pic>
        <p:nvPicPr>
          <p:cNvPr id="17411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072" y="908720"/>
            <a:ext cx="8132367" cy="53338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467544" y="692696"/>
            <a:ext cx="8234363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+mj-lt"/>
                <a:ea typeface="MS PGothic" pitchFamily="34" charset="-128"/>
                <a:cs typeface="MS PGothic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altLang="es-CR" sz="3200" dirty="0" smtClean="0">
                <a:solidFill>
                  <a:srgbClr val="FF3700"/>
                </a:solidFill>
                <a:ea typeface="MS PGothic"/>
                <a:cs typeface="+mn-cs"/>
              </a:rPr>
              <a:t>Our Principles</a:t>
            </a:r>
            <a:endParaRPr lang="en-US" altLang="es-CR" sz="3200" dirty="0">
              <a:solidFill>
                <a:srgbClr val="FF3700"/>
              </a:solidFill>
              <a:ea typeface="MS PGothic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7432586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5" cstate="print">
            <a:lum/>
          </a:blip>
          <a:srcRect/>
          <a:stretch>
            <a:fillRect l="-5000" r="-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Object 446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711150641"/>
              </p:ext>
            </p:extLst>
          </p:nvPr>
        </p:nvGraphicFramePr>
        <p:xfrm>
          <a:off x="1629" y="1614"/>
          <a:ext cx="1587" cy="1587"/>
        </p:xfrm>
        <a:graphic>
          <a:graphicData uri="http://schemas.openxmlformats.org/presentationml/2006/ole">
            <p:oleObj spid="_x0000_s60427" name="think-cell Slide" r:id="rId6" imgW="270" imgH="270" progId="">
              <p:embed/>
            </p:oleObj>
          </a:graphicData>
        </a:graphic>
      </p:graphicFrame>
      <p:sp>
        <p:nvSpPr>
          <p:cNvPr id="5124" name="Rectangle 16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spc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altLang="en-US" sz="1000" dirty="0">
              <a:solidFill>
                <a:srgbClr val="FAFFFF"/>
              </a:solidFill>
              <a:cs typeface="Arial"/>
              <a:sym typeface="Arial"/>
            </a:endParaRPr>
          </a:p>
        </p:txBody>
      </p:sp>
      <p:sp>
        <p:nvSpPr>
          <p:cNvPr id="14" name="13 Rectángulo"/>
          <p:cNvSpPr/>
          <p:nvPr/>
        </p:nvSpPr>
        <p:spPr>
          <a:xfrm>
            <a:off x="0" y="1412776"/>
            <a:ext cx="9144000" cy="3816424"/>
          </a:xfrm>
          <a:prstGeom prst="rect">
            <a:avLst/>
          </a:prstGeom>
          <a:solidFill>
            <a:schemeClr val="bg1">
              <a:lumMod val="50000"/>
              <a:alpha val="56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R">
              <a:solidFill>
                <a:prstClr val="white"/>
              </a:solidFill>
            </a:endParaRP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>
          <a:xfrm>
            <a:off x="611560" y="1844824"/>
            <a:ext cx="7992888" cy="30963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indent="-342900">
              <a:lnSpc>
                <a:spcPct val="95000"/>
              </a:lnSpc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altLang="es-ES" sz="2000" dirty="0" smtClean="0">
                <a:solidFill>
                  <a:schemeClr val="bg1"/>
                </a:solidFill>
              </a:rPr>
              <a:t>We rely on important local suppliers :</a:t>
            </a:r>
          </a:p>
          <a:p>
            <a:pPr marL="800100" lvl="1" indent="-342900">
              <a:lnSpc>
                <a:spcPct val="95000"/>
              </a:lnSpc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altLang="es-ES" sz="2000" dirty="0" smtClean="0">
                <a:solidFill>
                  <a:schemeClr val="bg1"/>
                </a:solidFill>
              </a:rPr>
              <a:t>Energy  </a:t>
            </a:r>
          </a:p>
          <a:p>
            <a:pPr marL="1257300" lvl="2" indent="-342900">
              <a:lnSpc>
                <a:spcPct val="95000"/>
              </a:lnSpc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altLang="es-ES" sz="2000" dirty="0" smtClean="0">
                <a:solidFill>
                  <a:schemeClr val="bg1"/>
                </a:solidFill>
              </a:rPr>
              <a:t>Electricity : ICE (</a:t>
            </a:r>
            <a:r>
              <a:rPr lang="en-US" altLang="es-ES" sz="2000" dirty="0" err="1" smtClean="0">
                <a:solidFill>
                  <a:schemeClr val="bg1"/>
                </a:solidFill>
              </a:rPr>
              <a:t>Instituto</a:t>
            </a:r>
            <a:r>
              <a:rPr lang="en-US" altLang="es-ES" sz="2000" dirty="0" smtClean="0">
                <a:solidFill>
                  <a:schemeClr val="bg1"/>
                </a:solidFill>
              </a:rPr>
              <a:t> </a:t>
            </a:r>
            <a:r>
              <a:rPr lang="en-US" altLang="es-ES" sz="2000" dirty="0" err="1" smtClean="0">
                <a:solidFill>
                  <a:schemeClr val="bg1"/>
                </a:solidFill>
              </a:rPr>
              <a:t>Costarricense</a:t>
            </a:r>
            <a:r>
              <a:rPr lang="en-US" altLang="es-ES" sz="2000" dirty="0" smtClean="0">
                <a:solidFill>
                  <a:schemeClr val="bg1"/>
                </a:solidFill>
              </a:rPr>
              <a:t> de </a:t>
            </a:r>
            <a:r>
              <a:rPr lang="en-US" altLang="es-ES" sz="2000" dirty="0" err="1" smtClean="0">
                <a:solidFill>
                  <a:schemeClr val="bg1"/>
                </a:solidFill>
              </a:rPr>
              <a:t>Electricidad</a:t>
            </a:r>
            <a:r>
              <a:rPr lang="en-US" altLang="es-ES" sz="2000" dirty="0" smtClean="0">
                <a:solidFill>
                  <a:schemeClr val="bg1"/>
                </a:solidFill>
              </a:rPr>
              <a:t>) </a:t>
            </a:r>
          </a:p>
          <a:p>
            <a:pPr marL="1257300" lvl="2" indent="-342900">
              <a:lnSpc>
                <a:spcPct val="95000"/>
              </a:lnSpc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altLang="es-ES" sz="2000" dirty="0" smtClean="0">
                <a:solidFill>
                  <a:schemeClr val="bg1"/>
                </a:solidFill>
              </a:rPr>
              <a:t>Oil : RECOPE (</a:t>
            </a:r>
            <a:r>
              <a:rPr lang="en-US" altLang="es-ES" sz="2000" dirty="0" err="1" smtClean="0">
                <a:solidFill>
                  <a:schemeClr val="bg1"/>
                </a:solidFill>
              </a:rPr>
              <a:t>Refinadora</a:t>
            </a:r>
            <a:r>
              <a:rPr lang="en-US" altLang="es-ES" sz="2000" dirty="0" smtClean="0">
                <a:solidFill>
                  <a:schemeClr val="bg1"/>
                </a:solidFill>
              </a:rPr>
              <a:t> </a:t>
            </a:r>
            <a:r>
              <a:rPr lang="en-US" altLang="es-ES" sz="2000" dirty="0" err="1" smtClean="0">
                <a:solidFill>
                  <a:schemeClr val="bg1"/>
                </a:solidFill>
              </a:rPr>
              <a:t>Costarricense</a:t>
            </a:r>
            <a:r>
              <a:rPr lang="en-US" altLang="es-ES" sz="2000" dirty="0" smtClean="0">
                <a:solidFill>
                  <a:schemeClr val="bg1"/>
                </a:solidFill>
              </a:rPr>
              <a:t> de </a:t>
            </a:r>
            <a:r>
              <a:rPr lang="en-US" altLang="es-ES" sz="2000" dirty="0" err="1" smtClean="0">
                <a:solidFill>
                  <a:schemeClr val="bg1"/>
                </a:solidFill>
              </a:rPr>
              <a:t>Petróleo</a:t>
            </a:r>
            <a:r>
              <a:rPr lang="en-US" altLang="es-ES" sz="2000" dirty="0" smtClean="0">
                <a:solidFill>
                  <a:schemeClr val="bg1"/>
                </a:solidFill>
              </a:rPr>
              <a:t>)</a:t>
            </a:r>
          </a:p>
          <a:p>
            <a:pPr marL="800100" lvl="1" indent="-342900">
              <a:lnSpc>
                <a:spcPct val="95000"/>
              </a:lnSpc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altLang="es-ES" sz="2000" dirty="0" smtClean="0">
                <a:solidFill>
                  <a:schemeClr val="bg1"/>
                </a:solidFill>
              </a:rPr>
              <a:t>Logistics</a:t>
            </a:r>
          </a:p>
          <a:p>
            <a:pPr marL="1257300" lvl="2" indent="-342900">
              <a:lnSpc>
                <a:spcPct val="95000"/>
              </a:lnSpc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altLang="es-ES" sz="2000" dirty="0" smtClean="0">
                <a:solidFill>
                  <a:schemeClr val="bg1"/>
                </a:solidFill>
              </a:rPr>
              <a:t>Railways  : INCOFER (</a:t>
            </a:r>
            <a:r>
              <a:rPr lang="en-US" altLang="es-ES" sz="2000" dirty="0" err="1" smtClean="0">
                <a:solidFill>
                  <a:schemeClr val="bg1"/>
                </a:solidFill>
              </a:rPr>
              <a:t>Instituto</a:t>
            </a:r>
            <a:r>
              <a:rPr lang="en-US" altLang="es-ES" sz="2000" dirty="0" smtClean="0">
                <a:solidFill>
                  <a:schemeClr val="bg1"/>
                </a:solidFill>
              </a:rPr>
              <a:t> </a:t>
            </a:r>
            <a:r>
              <a:rPr lang="en-US" altLang="es-ES" sz="2000" dirty="0" err="1" smtClean="0">
                <a:solidFill>
                  <a:schemeClr val="bg1"/>
                </a:solidFill>
              </a:rPr>
              <a:t>Costarricense</a:t>
            </a:r>
            <a:r>
              <a:rPr lang="en-US" altLang="es-ES" sz="2000" dirty="0" smtClean="0">
                <a:solidFill>
                  <a:schemeClr val="bg1"/>
                </a:solidFill>
              </a:rPr>
              <a:t> de </a:t>
            </a:r>
            <a:r>
              <a:rPr lang="en-US" altLang="es-ES" sz="2000" dirty="0" err="1" smtClean="0">
                <a:solidFill>
                  <a:schemeClr val="bg1"/>
                </a:solidFill>
              </a:rPr>
              <a:t>Ferrocarriles</a:t>
            </a:r>
            <a:r>
              <a:rPr lang="en-US" altLang="es-ES" sz="2000" dirty="0" smtClean="0">
                <a:solidFill>
                  <a:schemeClr val="bg1"/>
                </a:solidFill>
              </a:rPr>
              <a:t>).</a:t>
            </a:r>
          </a:p>
          <a:p>
            <a:pPr marL="1257300" lvl="2" indent="-342900">
              <a:lnSpc>
                <a:spcPct val="95000"/>
              </a:lnSpc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altLang="es-ES" sz="2000" dirty="0" smtClean="0">
                <a:solidFill>
                  <a:schemeClr val="bg1"/>
                </a:solidFill>
              </a:rPr>
              <a:t>Trucking companies </a:t>
            </a:r>
          </a:p>
          <a:p>
            <a:pPr marL="1257300" lvl="2" indent="-342900">
              <a:lnSpc>
                <a:spcPct val="95000"/>
              </a:lnSpc>
              <a:spcBef>
                <a:spcPct val="20000"/>
              </a:spcBef>
              <a:buFont typeface="Arial" pitchFamily="34" charset="0"/>
              <a:buChar char="•"/>
              <a:defRPr/>
            </a:pPr>
            <a:endParaRPr lang="en-US" altLang="es-ES" sz="2000" dirty="0" smtClean="0">
              <a:solidFill>
                <a:schemeClr val="bg1"/>
              </a:solidFill>
            </a:endParaRPr>
          </a:p>
          <a:p>
            <a:pPr marL="342900" indent="-342900">
              <a:lnSpc>
                <a:spcPct val="95000"/>
              </a:lnSpc>
              <a:spcBef>
                <a:spcPct val="20000"/>
              </a:spcBef>
              <a:buFont typeface="Arial" pitchFamily="34" charset="0"/>
              <a:buChar char="•"/>
              <a:defRPr/>
            </a:pPr>
            <a:endParaRPr lang="es-ES" altLang="es-E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09767032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Object 446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780987222"/>
              </p:ext>
            </p:extLst>
          </p:nvPr>
        </p:nvGraphicFramePr>
        <p:xfrm>
          <a:off x="1629" y="1614"/>
          <a:ext cx="1587" cy="1587"/>
        </p:xfrm>
        <a:graphic>
          <a:graphicData uri="http://schemas.openxmlformats.org/presentationml/2006/ole">
            <p:oleObj spid="_x0000_s44048" name="think-cell Slide" r:id="rId5" imgW="270" imgH="270" progId="">
              <p:embed/>
            </p:oleObj>
          </a:graphicData>
        </a:graphic>
      </p:graphicFrame>
      <p:sp>
        <p:nvSpPr>
          <p:cNvPr id="5124" name="Rectangle 16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spc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altLang="en-US" sz="1000" dirty="0">
              <a:solidFill>
                <a:srgbClr val="FAFFFF"/>
              </a:solidFill>
              <a:cs typeface="Arial"/>
              <a:sym typeface="Arial"/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438150" y="980653"/>
            <a:ext cx="8234363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+mj-lt"/>
                <a:ea typeface="MS PGothic" pitchFamily="34" charset="-128"/>
                <a:cs typeface="MS PGothic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altLang="es-CR" sz="3200" dirty="0" smtClean="0">
                <a:solidFill>
                  <a:srgbClr val="FF3700"/>
                </a:solidFill>
                <a:ea typeface="MS PGothic"/>
                <a:cs typeface="+mn-cs"/>
              </a:rPr>
              <a:t>Our </a:t>
            </a:r>
            <a:r>
              <a:rPr lang="en-US" altLang="es-CR" sz="3200" dirty="0" smtClean="0">
                <a:solidFill>
                  <a:srgbClr val="FF3700"/>
                </a:solidFill>
                <a:ea typeface="MS PGothic"/>
                <a:cs typeface="+mn-cs"/>
              </a:rPr>
              <a:t>Number </a:t>
            </a:r>
            <a:r>
              <a:rPr lang="en-US" altLang="es-CR" sz="3200" dirty="0" smtClean="0">
                <a:solidFill>
                  <a:srgbClr val="FF3700"/>
                </a:solidFill>
                <a:ea typeface="MS PGothic"/>
                <a:cs typeface="+mn-cs"/>
              </a:rPr>
              <a:t>1 </a:t>
            </a:r>
            <a:r>
              <a:rPr lang="en-US" altLang="es-CR" sz="3200" dirty="0" smtClean="0">
                <a:solidFill>
                  <a:srgbClr val="FF3700"/>
                </a:solidFill>
                <a:ea typeface="MS PGothic"/>
                <a:cs typeface="+mn-cs"/>
              </a:rPr>
              <a:t>Priority</a:t>
            </a:r>
            <a:r>
              <a:rPr lang="es-CR" altLang="es-CR" sz="3200" dirty="0" smtClean="0">
                <a:solidFill>
                  <a:srgbClr val="FF3700"/>
                </a:solidFill>
                <a:ea typeface="MS PGothic"/>
                <a:cs typeface="+mn-cs"/>
              </a:rPr>
              <a:t> </a:t>
            </a:r>
            <a:r>
              <a:rPr lang="es-CR" altLang="es-CR" sz="3200" dirty="0" smtClean="0">
                <a:solidFill>
                  <a:srgbClr val="FF3700"/>
                </a:solidFill>
                <a:ea typeface="MS PGothic"/>
                <a:cs typeface="+mn-cs"/>
              </a:rPr>
              <a:t>: </a:t>
            </a:r>
            <a:r>
              <a:rPr lang="en-US" altLang="es-CR" sz="3200" dirty="0" smtClean="0">
                <a:solidFill>
                  <a:srgbClr val="FF3700"/>
                </a:solidFill>
                <a:ea typeface="MS PGothic"/>
              </a:rPr>
              <a:t>Health &amp; Safety</a:t>
            </a:r>
          </a:p>
        </p:txBody>
      </p:sp>
      <p:sp>
        <p:nvSpPr>
          <p:cNvPr id="8" name="7 CuadroTexto"/>
          <p:cNvSpPr txBox="1"/>
          <p:nvPr/>
        </p:nvSpPr>
        <p:spPr>
          <a:xfrm>
            <a:off x="395536" y="2148467"/>
            <a:ext cx="3744416" cy="3584789"/>
          </a:xfrm>
          <a:prstGeom prst="rect">
            <a:avLst/>
          </a:prstGeom>
          <a:noFill/>
        </p:spPr>
        <p:txBody>
          <a:bodyPr wrap="square" lIns="91402" tIns="45701" rIns="91402" bIns="45701" rtlCol="0">
            <a:spAutoFit/>
          </a:bodyPr>
          <a:lstStyle/>
          <a:p>
            <a:pPr marL="342900" indent="-342900">
              <a:lnSpc>
                <a:spcPct val="95000"/>
              </a:lnSpc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1700" dirty="0">
                <a:solidFill>
                  <a:srgbClr val="696969"/>
                </a:solidFill>
              </a:rPr>
              <a:t>We are focused on further reducing the rate of severe injuries and fatality prevention. </a:t>
            </a:r>
          </a:p>
          <a:p>
            <a:pPr marL="342900" indent="-342900">
              <a:lnSpc>
                <a:spcPct val="95000"/>
              </a:lnSpc>
              <a:spcBef>
                <a:spcPct val="20000"/>
              </a:spcBef>
              <a:buFont typeface="Arial" pitchFamily="34" charset="0"/>
              <a:buChar char="•"/>
              <a:defRPr/>
            </a:pPr>
            <a:endParaRPr lang="en-US" sz="1700" dirty="0">
              <a:solidFill>
                <a:srgbClr val="696969"/>
              </a:solidFill>
            </a:endParaRPr>
          </a:p>
          <a:p>
            <a:pPr marL="342900" indent="-342900">
              <a:lnSpc>
                <a:spcPct val="95000"/>
              </a:lnSpc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1700" dirty="0">
                <a:solidFill>
                  <a:srgbClr val="696969"/>
                </a:solidFill>
              </a:rPr>
              <a:t>Our number 1 priority is present in everything we do.</a:t>
            </a:r>
          </a:p>
          <a:p>
            <a:pPr marL="342900" indent="-342900">
              <a:lnSpc>
                <a:spcPct val="95000"/>
              </a:lnSpc>
              <a:spcBef>
                <a:spcPct val="20000"/>
              </a:spcBef>
              <a:buFont typeface="Arial" pitchFamily="34" charset="0"/>
              <a:buChar char="•"/>
              <a:defRPr/>
            </a:pPr>
            <a:endParaRPr lang="en-US" sz="1700" dirty="0">
              <a:solidFill>
                <a:srgbClr val="696969"/>
              </a:solidFill>
            </a:endParaRPr>
          </a:p>
          <a:p>
            <a:pPr marL="342900" indent="-342900">
              <a:lnSpc>
                <a:spcPct val="95000"/>
              </a:lnSpc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1700" dirty="0">
                <a:solidFill>
                  <a:srgbClr val="696969"/>
                </a:solidFill>
              </a:rPr>
              <a:t>It is a part of our DNA, to guarantee that the Health </a:t>
            </a:r>
            <a:r>
              <a:rPr lang="en-US" sz="1700" dirty="0" smtClean="0">
                <a:solidFill>
                  <a:srgbClr val="696969"/>
                </a:solidFill>
              </a:rPr>
              <a:t>&amp; Safety </a:t>
            </a:r>
            <a:r>
              <a:rPr lang="en-US" sz="1700" dirty="0">
                <a:solidFill>
                  <a:srgbClr val="696969"/>
                </a:solidFill>
              </a:rPr>
              <a:t>is an integral component of our leadership, quality and sustainability.</a:t>
            </a:r>
          </a:p>
          <a:p>
            <a:pPr marL="342900" indent="-342900">
              <a:lnSpc>
                <a:spcPct val="95000"/>
              </a:lnSpc>
              <a:spcBef>
                <a:spcPct val="20000"/>
              </a:spcBef>
              <a:buFont typeface="Arial" pitchFamily="34" charset="0"/>
              <a:buChar char="•"/>
              <a:defRPr/>
            </a:pPr>
            <a:endParaRPr lang="es-ES" sz="1700" dirty="0">
              <a:solidFill>
                <a:prstClr val="white">
                  <a:lumMod val="95000"/>
                </a:prstClr>
              </a:solidFill>
            </a:endParaRPr>
          </a:p>
        </p:txBody>
      </p:sp>
      <p:pic>
        <p:nvPicPr>
          <p:cNvPr id="9" name="8 Imagen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2348880"/>
            <a:ext cx="3899925" cy="2924944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="" xmlns:p14="http://schemas.microsoft.com/office/powerpoint/2010/main" val="11747169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Object 446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475780028"/>
              </p:ext>
            </p:extLst>
          </p:nvPr>
        </p:nvGraphicFramePr>
        <p:xfrm>
          <a:off x="1629" y="1614"/>
          <a:ext cx="1587" cy="1587"/>
        </p:xfrm>
        <a:graphic>
          <a:graphicData uri="http://schemas.openxmlformats.org/presentationml/2006/ole">
            <p:oleObj spid="_x0000_s23568" name="think-cell Slide" r:id="rId5" imgW="270" imgH="270" progId="">
              <p:embed/>
            </p:oleObj>
          </a:graphicData>
        </a:graphic>
      </p:graphicFrame>
      <p:sp>
        <p:nvSpPr>
          <p:cNvPr id="5124" name="Rectangle 16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spc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altLang="en-US" sz="1000" dirty="0">
              <a:solidFill>
                <a:srgbClr val="FAFFFF"/>
              </a:solidFill>
              <a:cs typeface="Arial"/>
              <a:sym typeface="Arial"/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323528" y="476672"/>
            <a:ext cx="8234363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+mj-lt"/>
                <a:ea typeface="MS PGothic" pitchFamily="34" charset="-128"/>
                <a:cs typeface="MS PGothic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altLang="es-CR" sz="3200" dirty="0" smtClean="0">
                <a:solidFill>
                  <a:srgbClr val="FF3700"/>
                </a:solidFill>
                <a:ea typeface="MS PGothic"/>
                <a:cs typeface="+mn-cs"/>
              </a:rPr>
              <a:t>Our History</a:t>
            </a:r>
          </a:p>
        </p:txBody>
      </p:sp>
      <p:pic>
        <p:nvPicPr>
          <p:cNvPr id="11267" name="Picture 3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12147"/>
          <a:stretch/>
        </p:blipFill>
        <p:spPr bwMode="auto">
          <a:xfrm>
            <a:off x="149038" y="1611007"/>
            <a:ext cx="8964488" cy="41942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159466256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Object 446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021023762"/>
              </p:ext>
            </p:extLst>
          </p:nvPr>
        </p:nvGraphicFramePr>
        <p:xfrm>
          <a:off x="1629" y="1614"/>
          <a:ext cx="1587" cy="1587"/>
        </p:xfrm>
        <a:graphic>
          <a:graphicData uri="http://schemas.openxmlformats.org/presentationml/2006/ole">
            <p:oleObj spid="_x0000_s29717" name="think-cell Slide" r:id="rId5" imgW="270" imgH="270" progId="">
              <p:embed/>
            </p:oleObj>
          </a:graphicData>
        </a:graphic>
      </p:graphicFrame>
      <p:sp>
        <p:nvSpPr>
          <p:cNvPr id="5124" name="Rectangle 16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spc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altLang="en-US" sz="1000" dirty="0">
              <a:solidFill>
                <a:srgbClr val="FAFFFF"/>
              </a:solidFill>
              <a:cs typeface="Arial"/>
              <a:sym typeface="Arial"/>
            </a:endParaRPr>
          </a:p>
        </p:txBody>
      </p:sp>
      <p:pic>
        <p:nvPicPr>
          <p:cNvPr id="29700" name="Picture 4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9874" t="9153" r="28039" b="10351"/>
          <a:stretch/>
        </p:blipFill>
        <p:spPr bwMode="auto">
          <a:xfrm>
            <a:off x="0" y="1628800"/>
            <a:ext cx="9180512" cy="49479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370085" y="476597"/>
            <a:ext cx="8234363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+mj-lt"/>
                <a:ea typeface="MS PGothic" pitchFamily="34" charset="-128"/>
                <a:cs typeface="MS PGothic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altLang="es-CR" sz="3200" dirty="0" smtClean="0">
                <a:solidFill>
                  <a:srgbClr val="FF3700"/>
                </a:solidFill>
                <a:ea typeface="MS PGothic"/>
                <a:cs typeface="+mn-cs"/>
              </a:rPr>
              <a:t>Our </a:t>
            </a:r>
            <a:r>
              <a:rPr lang="en-US" altLang="es-CR" sz="3200" dirty="0" smtClean="0">
                <a:solidFill>
                  <a:srgbClr val="FF3700"/>
                </a:solidFill>
                <a:ea typeface="MS PGothic"/>
                <a:cs typeface="+mn-cs"/>
              </a:rPr>
              <a:t>Plants</a:t>
            </a:r>
            <a:endParaRPr lang="en-US" altLang="es-CR" sz="3200" dirty="0" smtClean="0">
              <a:solidFill>
                <a:srgbClr val="FF3700"/>
              </a:solidFill>
              <a:ea typeface="MS PGothic"/>
              <a:cs typeface="+mn-cs"/>
            </a:endParaRPr>
          </a:p>
        </p:txBody>
      </p:sp>
      <p:pic>
        <p:nvPicPr>
          <p:cNvPr id="8" name="7 Imagen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1920" y="3289941"/>
            <a:ext cx="462210" cy="462210"/>
          </a:xfrm>
          <a:prstGeom prst="rect">
            <a:avLst/>
          </a:prstGeom>
        </p:spPr>
      </p:pic>
      <p:pic>
        <p:nvPicPr>
          <p:cNvPr id="9" name="8 Imagen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9718" y="3398838"/>
            <a:ext cx="462210" cy="462210"/>
          </a:xfrm>
          <a:prstGeom prst="rect">
            <a:avLst/>
          </a:prstGeom>
        </p:spPr>
      </p:pic>
      <p:pic>
        <p:nvPicPr>
          <p:cNvPr id="10" name="9 Imagen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6020" y="2950647"/>
            <a:ext cx="462210" cy="462210"/>
          </a:xfrm>
          <a:prstGeom prst="rect">
            <a:avLst/>
          </a:prstGeom>
        </p:spPr>
      </p:pic>
      <p:pic>
        <p:nvPicPr>
          <p:cNvPr id="11" name="10 Imagen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0337" y="2990605"/>
            <a:ext cx="462210" cy="462210"/>
          </a:xfrm>
          <a:prstGeom prst="rect">
            <a:avLst/>
          </a:prstGeom>
        </p:spPr>
      </p:pic>
      <p:pic>
        <p:nvPicPr>
          <p:cNvPr id="12" name="11 Imagen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6280" y="2708920"/>
            <a:ext cx="462210" cy="462210"/>
          </a:xfrm>
          <a:prstGeom prst="rect">
            <a:avLst/>
          </a:prstGeom>
        </p:spPr>
      </p:pic>
      <p:sp>
        <p:nvSpPr>
          <p:cNvPr id="4" name="3 CuadroTexto"/>
          <p:cNvSpPr txBox="1"/>
          <p:nvPr/>
        </p:nvSpPr>
        <p:spPr>
          <a:xfrm>
            <a:off x="6084168" y="3140968"/>
            <a:ext cx="28083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rgbClr val="FF3700"/>
                </a:solidFill>
              </a:rPr>
              <a:t>Distribution  Center  and </a:t>
            </a:r>
            <a:br>
              <a:rPr lang="en-US" sz="1600" b="1" dirty="0" smtClean="0">
                <a:solidFill>
                  <a:srgbClr val="FF3700"/>
                </a:solidFill>
              </a:rPr>
            </a:br>
            <a:r>
              <a:rPr lang="en-US" sz="1600" b="1" dirty="0" smtClean="0">
                <a:solidFill>
                  <a:srgbClr val="FF3700"/>
                </a:solidFill>
              </a:rPr>
              <a:t>Cut &amp; Bending Facility</a:t>
            </a:r>
            <a:endParaRPr lang="en-US" sz="1600" b="1" dirty="0">
              <a:solidFill>
                <a:srgbClr val="FF3700"/>
              </a:solidFill>
            </a:endParaRPr>
          </a:p>
        </p:txBody>
      </p:sp>
      <p:sp>
        <p:nvSpPr>
          <p:cNvPr id="16" name="15 CuadroTexto"/>
          <p:cNvSpPr txBox="1"/>
          <p:nvPr/>
        </p:nvSpPr>
        <p:spPr>
          <a:xfrm>
            <a:off x="5796136" y="2204864"/>
            <a:ext cx="194421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FF3700"/>
                </a:solidFill>
              </a:rPr>
              <a:t>Rolling Mill </a:t>
            </a:r>
            <a:endParaRPr lang="en-US" sz="1600" b="1" dirty="0">
              <a:solidFill>
                <a:srgbClr val="FF3700"/>
              </a:solidFill>
            </a:endParaRPr>
          </a:p>
        </p:txBody>
      </p:sp>
      <p:sp>
        <p:nvSpPr>
          <p:cNvPr id="17" name="16 CuadroTexto"/>
          <p:cNvSpPr txBox="1"/>
          <p:nvPr/>
        </p:nvSpPr>
        <p:spPr>
          <a:xfrm>
            <a:off x="0" y="2060848"/>
            <a:ext cx="21957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FF3700"/>
                </a:solidFill>
              </a:rPr>
              <a:t>Distribution </a:t>
            </a:r>
          </a:p>
          <a:p>
            <a:pPr algn="ctr"/>
            <a:r>
              <a:rPr lang="en-US" sz="1600" b="1" dirty="0" smtClean="0">
                <a:solidFill>
                  <a:srgbClr val="FF3700"/>
                </a:solidFill>
              </a:rPr>
              <a:t>Center North Zone</a:t>
            </a:r>
            <a:endParaRPr lang="en-US" sz="1600" b="1" dirty="0">
              <a:solidFill>
                <a:srgbClr val="FF3700"/>
              </a:solidFill>
            </a:endParaRPr>
          </a:p>
        </p:txBody>
      </p:sp>
      <p:sp>
        <p:nvSpPr>
          <p:cNvPr id="18" name="17 CuadroTexto"/>
          <p:cNvSpPr txBox="1"/>
          <p:nvPr/>
        </p:nvSpPr>
        <p:spPr>
          <a:xfrm>
            <a:off x="0" y="2996952"/>
            <a:ext cx="151216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FF3700"/>
                </a:solidFill>
              </a:rPr>
              <a:t>Distribution </a:t>
            </a:r>
          </a:p>
          <a:p>
            <a:pPr algn="ctr"/>
            <a:r>
              <a:rPr lang="en-US" sz="1600" b="1" dirty="0" smtClean="0">
                <a:solidFill>
                  <a:srgbClr val="FF3700"/>
                </a:solidFill>
              </a:rPr>
              <a:t>Center</a:t>
            </a:r>
          </a:p>
          <a:p>
            <a:pPr algn="ctr"/>
            <a:r>
              <a:rPr lang="en-US" sz="1600" b="1" dirty="0" smtClean="0">
                <a:solidFill>
                  <a:srgbClr val="FF3700"/>
                </a:solidFill>
              </a:rPr>
              <a:t>Pacific Zone</a:t>
            </a:r>
            <a:endParaRPr lang="en-US" sz="1600" b="1" dirty="0">
              <a:solidFill>
                <a:srgbClr val="FF3700"/>
              </a:solidFill>
            </a:endParaRPr>
          </a:p>
        </p:txBody>
      </p:sp>
      <p:sp>
        <p:nvSpPr>
          <p:cNvPr id="19" name="18 CuadroTexto"/>
          <p:cNvSpPr txBox="1"/>
          <p:nvPr/>
        </p:nvSpPr>
        <p:spPr>
          <a:xfrm>
            <a:off x="1475656" y="4653136"/>
            <a:ext cx="19442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solidFill>
                  <a:srgbClr val="FF3700"/>
                </a:solidFill>
              </a:rPr>
              <a:t>Main Office</a:t>
            </a:r>
            <a:endParaRPr lang="en-US" sz="2000" b="1" dirty="0">
              <a:solidFill>
                <a:srgbClr val="FF3700"/>
              </a:solidFill>
            </a:endParaRPr>
          </a:p>
        </p:txBody>
      </p:sp>
      <p:cxnSp>
        <p:nvCxnSpPr>
          <p:cNvPr id="21" name="Straight Arrow Connector 20"/>
          <p:cNvCxnSpPr/>
          <p:nvPr/>
        </p:nvCxnSpPr>
        <p:spPr bwMode="auto">
          <a:xfrm>
            <a:off x="2123728" y="2492896"/>
            <a:ext cx="1224136" cy="288032"/>
          </a:xfrm>
          <a:prstGeom prst="straightConnector1">
            <a:avLst/>
          </a:prstGeom>
          <a:noFill/>
          <a:ln w="38100" cap="flat" cmpd="sng" algn="ctr">
            <a:solidFill>
              <a:schemeClr val="bg1">
                <a:lumMod val="50000"/>
              </a:schemeClr>
            </a:solidFill>
            <a:prstDash val="sysDot"/>
            <a:round/>
            <a:headEnd type="none" w="med" len="med"/>
            <a:tailEnd type="arrow"/>
          </a:ln>
          <a:effectLst/>
        </p:spPr>
      </p:cxnSp>
      <p:cxnSp>
        <p:nvCxnSpPr>
          <p:cNvPr id="24" name="Straight Arrow Connector 23"/>
          <p:cNvCxnSpPr/>
          <p:nvPr/>
        </p:nvCxnSpPr>
        <p:spPr bwMode="auto">
          <a:xfrm flipV="1">
            <a:off x="1331640" y="3356992"/>
            <a:ext cx="864096" cy="144016"/>
          </a:xfrm>
          <a:prstGeom prst="straightConnector1">
            <a:avLst/>
          </a:prstGeom>
          <a:noFill/>
          <a:ln w="38100" cap="flat" cmpd="sng" algn="ctr">
            <a:solidFill>
              <a:schemeClr val="bg1">
                <a:lumMod val="50000"/>
              </a:schemeClr>
            </a:solidFill>
            <a:prstDash val="sysDot"/>
            <a:round/>
            <a:headEnd type="none" w="med" len="med"/>
            <a:tailEnd type="arrow"/>
          </a:ln>
          <a:effectLst/>
        </p:spPr>
      </p:cxnSp>
      <p:cxnSp>
        <p:nvCxnSpPr>
          <p:cNvPr id="26" name="Straight Arrow Connector 25"/>
          <p:cNvCxnSpPr/>
          <p:nvPr/>
        </p:nvCxnSpPr>
        <p:spPr bwMode="auto">
          <a:xfrm flipV="1">
            <a:off x="2555776" y="3645024"/>
            <a:ext cx="1368152" cy="936104"/>
          </a:xfrm>
          <a:prstGeom prst="straightConnector1">
            <a:avLst/>
          </a:prstGeom>
          <a:noFill/>
          <a:ln w="38100" cap="flat" cmpd="sng" algn="ctr">
            <a:solidFill>
              <a:schemeClr val="bg1">
                <a:lumMod val="50000"/>
              </a:schemeClr>
            </a:solidFill>
            <a:prstDash val="sysDot"/>
            <a:round/>
            <a:headEnd type="none" w="med" len="med"/>
            <a:tailEnd type="arrow"/>
          </a:ln>
          <a:effectLst/>
        </p:spPr>
      </p:cxnSp>
      <p:cxnSp>
        <p:nvCxnSpPr>
          <p:cNvPr id="28" name="Straight Arrow Connector 27"/>
          <p:cNvCxnSpPr/>
          <p:nvPr/>
        </p:nvCxnSpPr>
        <p:spPr bwMode="auto">
          <a:xfrm flipH="1">
            <a:off x="5220072" y="2492896"/>
            <a:ext cx="936104" cy="432048"/>
          </a:xfrm>
          <a:prstGeom prst="straightConnector1">
            <a:avLst/>
          </a:prstGeom>
          <a:noFill/>
          <a:ln w="38100" cap="flat" cmpd="sng" algn="ctr">
            <a:solidFill>
              <a:schemeClr val="bg1">
                <a:lumMod val="50000"/>
              </a:schemeClr>
            </a:solidFill>
            <a:prstDash val="sysDot"/>
            <a:round/>
            <a:headEnd type="none" w="med" len="med"/>
            <a:tailEnd type="arrow"/>
          </a:ln>
          <a:effectLst/>
        </p:spPr>
      </p:cxnSp>
      <p:cxnSp>
        <p:nvCxnSpPr>
          <p:cNvPr id="30" name="Straight Arrow Connector 29"/>
          <p:cNvCxnSpPr>
            <a:stCxn id="4" idx="1"/>
          </p:cNvCxnSpPr>
          <p:nvPr/>
        </p:nvCxnSpPr>
        <p:spPr bwMode="auto">
          <a:xfrm flipH="1">
            <a:off x="4644008" y="3433356"/>
            <a:ext cx="1440160" cy="211668"/>
          </a:xfrm>
          <a:prstGeom prst="straightConnector1">
            <a:avLst/>
          </a:prstGeom>
          <a:noFill/>
          <a:ln w="38100" cap="flat" cmpd="sng" algn="ctr">
            <a:solidFill>
              <a:schemeClr val="bg1">
                <a:lumMod val="50000"/>
              </a:schemeClr>
            </a:solidFill>
            <a:prstDash val="sysDot"/>
            <a:round/>
            <a:headEnd type="none" w="med" len="med"/>
            <a:tailEnd type="arrow"/>
          </a:ln>
          <a:effectLst/>
        </p:spPr>
      </p:cxnSp>
    </p:spTree>
    <p:extLst>
      <p:ext uri="{BB962C8B-B14F-4D97-AF65-F5344CB8AC3E}">
        <p14:creationId xmlns="" xmlns:p14="http://schemas.microsoft.com/office/powerpoint/2010/main" val="16216092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Object 446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156347198"/>
              </p:ext>
            </p:extLst>
          </p:nvPr>
        </p:nvGraphicFramePr>
        <p:xfrm>
          <a:off x="1629" y="1614"/>
          <a:ext cx="1587" cy="1587"/>
        </p:xfrm>
        <a:graphic>
          <a:graphicData uri="http://schemas.openxmlformats.org/presentationml/2006/ole">
            <p:oleObj spid="_x0000_s40977" name="think-cell Slide" r:id="rId5" imgW="270" imgH="270" progId="">
              <p:embed/>
            </p:oleObj>
          </a:graphicData>
        </a:graphic>
      </p:graphicFrame>
      <p:sp>
        <p:nvSpPr>
          <p:cNvPr id="5124" name="Rectangle 16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spc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altLang="en-US" sz="1000" dirty="0">
              <a:solidFill>
                <a:srgbClr val="FAFFFF"/>
              </a:solidFill>
              <a:cs typeface="Arial"/>
              <a:sym typeface="Arial"/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298077" y="476672"/>
            <a:ext cx="8234363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+mj-lt"/>
                <a:ea typeface="MS PGothic" pitchFamily="34" charset="-128"/>
                <a:cs typeface="MS PGothic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altLang="es-CR" sz="3200" dirty="0" smtClean="0">
                <a:solidFill>
                  <a:srgbClr val="FF3700"/>
                </a:solidFill>
                <a:ea typeface="MS PGothic"/>
                <a:cs typeface="+mn-cs"/>
              </a:rPr>
              <a:t>Our Rolling </a:t>
            </a:r>
            <a:r>
              <a:rPr lang="en-US" altLang="es-CR" sz="3200" dirty="0" smtClean="0">
                <a:solidFill>
                  <a:srgbClr val="FF3700"/>
                </a:solidFill>
                <a:ea typeface="MS PGothic"/>
                <a:cs typeface="+mn-cs"/>
              </a:rPr>
              <a:t>Mill</a:t>
            </a:r>
            <a:endParaRPr lang="en-US" altLang="es-CR" sz="3200" dirty="0">
              <a:solidFill>
                <a:srgbClr val="FF3700"/>
              </a:solidFill>
              <a:ea typeface="MS PGothic"/>
              <a:cs typeface="+mn-cs"/>
            </a:endParaRPr>
          </a:p>
        </p:txBody>
      </p:sp>
      <p:pic>
        <p:nvPicPr>
          <p:cNvPr id="11" name="10 Imagen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>
          <a:xfrm>
            <a:off x="0" y="1988840"/>
            <a:ext cx="9144000" cy="4227534"/>
          </a:xfrm>
          <a:prstGeom prst="rect">
            <a:avLst/>
          </a:prstGeom>
        </p:spPr>
      </p:pic>
      <p:grpSp>
        <p:nvGrpSpPr>
          <p:cNvPr id="12" name="11 Grupo"/>
          <p:cNvGrpSpPr/>
          <p:nvPr/>
        </p:nvGrpSpPr>
        <p:grpSpPr>
          <a:xfrm>
            <a:off x="-36512" y="1988840"/>
            <a:ext cx="3851920" cy="4248472"/>
            <a:chOff x="0" y="1844824"/>
            <a:chExt cx="3851920" cy="4248472"/>
          </a:xfrm>
        </p:grpSpPr>
        <p:sp>
          <p:nvSpPr>
            <p:cNvPr id="13" name="12 Rectángulo"/>
            <p:cNvSpPr/>
            <p:nvPr/>
          </p:nvSpPr>
          <p:spPr>
            <a:xfrm>
              <a:off x="0" y="1844824"/>
              <a:ext cx="3779912" cy="4248472"/>
            </a:xfrm>
            <a:prstGeom prst="rect">
              <a:avLst/>
            </a:prstGeom>
            <a:solidFill>
              <a:schemeClr val="bg1">
                <a:lumMod val="50000"/>
                <a:alpha val="56000"/>
              </a:schemeClr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R">
                <a:solidFill>
                  <a:prstClr val="white"/>
                </a:solidFill>
              </a:endParaRPr>
            </a:p>
          </p:txBody>
        </p:sp>
        <p:sp>
          <p:nvSpPr>
            <p:cNvPr id="14" name="13 CuadroTexto"/>
            <p:cNvSpPr txBox="1"/>
            <p:nvPr/>
          </p:nvSpPr>
          <p:spPr>
            <a:xfrm>
              <a:off x="35496" y="2132856"/>
              <a:ext cx="3816424" cy="3693280"/>
            </a:xfrm>
            <a:prstGeom prst="rect">
              <a:avLst/>
            </a:prstGeom>
            <a:noFill/>
          </p:spPr>
          <p:txBody>
            <a:bodyPr wrap="square" lIns="91402" tIns="45701" rIns="91402" bIns="45701" rtlCol="0">
              <a:spAutoFit/>
            </a:bodyPr>
            <a:lstStyle/>
            <a:p>
              <a:r>
                <a:rPr lang="en-US" sz="2000" b="1" dirty="0">
                  <a:solidFill>
                    <a:prstClr val="white"/>
                  </a:solidFill>
                </a:rPr>
                <a:t>Location:</a:t>
              </a:r>
            </a:p>
            <a:p>
              <a:r>
                <a:rPr lang="en-US" sz="2000" dirty="0">
                  <a:solidFill>
                    <a:prstClr val="white"/>
                  </a:solidFill>
                </a:rPr>
                <a:t>Jimenez de Pococi, Limon.</a:t>
              </a:r>
            </a:p>
            <a:p>
              <a:endParaRPr lang="en-US" sz="2000" b="1" dirty="0">
                <a:solidFill>
                  <a:prstClr val="white"/>
                </a:solidFill>
              </a:endParaRPr>
            </a:p>
            <a:p>
              <a:r>
                <a:rPr lang="en-US" sz="2000" b="1" dirty="0">
                  <a:solidFill>
                    <a:prstClr val="white"/>
                  </a:solidFill>
                </a:rPr>
                <a:t>Headcount: </a:t>
              </a:r>
            </a:p>
            <a:p>
              <a:r>
                <a:rPr lang="en-US" sz="2000" dirty="0" smtClean="0">
                  <a:solidFill>
                    <a:prstClr val="white"/>
                  </a:solidFill>
                </a:rPr>
                <a:t>90 employees</a:t>
              </a:r>
              <a:r>
                <a:rPr lang="en-US" sz="2000" dirty="0">
                  <a:solidFill>
                    <a:prstClr val="white"/>
                  </a:solidFill>
                </a:rPr>
                <a:t>.</a:t>
              </a:r>
            </a:p>
            <a:p>
              <a:endParaRPr lang="en-US" sz="2000" b="1" dirty="0">
                <a:solidFill>
                  <a:prstClr val="white"/>
                </a:solidFill>
              </a:endParaRPr>
            </a:p>
            <a:p>
              <a:r>
                <a:rPr lang="en-US" sz="2000" b="1" dirty="0">
                  <a:solidFill>
                    <a:prstClr val="white"/>
                  </a:solidFill>
                </a:rPr>
                <a:t>Extension: </a:t>
              </a:r>
            </a:p>
            <a:p>
              <a:r>
                <a:rPr lang="en-US" sz="2000" dirty="0">
                  <a:solidFill>
                    <a:prstClr val="white"/>
                  </a:solidFill>
                </a:rPr>
                <a:t>25.000 m2</a:t>
              </a:r>
            </a:p>
            <a:p>
              <a:endParaRPr lang="en-US" sz="2000" b="1" dirty="0">
                <a:solidFill>
                  <a:prstClr val="white"/>
                </a:solidFill>
              </a:endParaRPr>
            </a:p>
            <a:p>
              <a:r>
                <a:rPr lang="en-US" sz="2000" b="1" dirty="0">
                  <a:solidFill>
                    <a:prstClr val="white"/>
                  </a:solidFill>
                </a:rPr>
                <a:t>Capacity: </a:t>
              </a:r>
            </a:p>
            <a:p>
              <a:r>
                <a:rPr lang="en-US" sz="2000" dirty="0">
                  <a:solidFill>
                    <a:prstClr val="white"/>
                  </a:solidFill>
                </a:rPr>
                <a:t>350.000 metric tons per year.</a:t>
              </a:r>
              <a:endParaRPr lang="en-US" sz="1600" dirty="0">
                <a:solidFill>
                  <a:prstClr val="white">
                    <a:lumMod val="95000"/>
                  </a:prstClr>
                </a:solidFill>
                <a:latin typeface="VAGRounded-Light" pitchFamily="34" charset="0"/>
              </a:endParaRPr>
            </a:p>
            <a:p>
              <a:pPr algn="just"/>
              <a:endParaRPr lang="en-US" sz="1400" dirty="0">
                <a:solidFill>
                  <a:prstClr val="white"/>
                </a:solidFill>
                <a:latin typeface="VAGRounded"/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221332898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r1F1ldLEaGFjRyPSo.2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r1F1ldLEaGFjRyPSo.2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r1F1ldLEaGFjRyPSo.2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r1F1ldLEaGFjRyPSo.2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r1F1ldLEaGFjRyPSo.2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r1F1ldLEaGFjRyPSo.2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r1F1ldLEaGFjRyPSo.2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r1F1ldLEaGFjRyPSo.2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r1F1ldLEaGFjRyPSo.2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r1F1ldLEaGFjRyPSo.2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r1F1ldLEaGFjRyPSo.2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r1F1ldLEaGFjRyPSo.2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r1F1ldLEaGFjRyPSo.2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r1F1ldLEaGFjRyPSo.2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r1F1ldLEaGFjRyPSo.2g"/>
</p:tagLst>
</file>

<file path=ppt/theme/theme1.xml><?xml version="1.0" encoding="utf-8"?>
<a:theme xmlns:a="http://schemas.openxmlformats.org/drawingml/2006/main" name="1_ArcelorMittal_ppt_special_(with_images)">
  <a:themeElements>
    <a:clrScheme name="ArcelorMittal_ppt_special_(with_images) 1">
      <a:dk1>
        <a:srgbClr val="696969"/>
      </a:dk1>
      <a:lt1>
        <a:srgbClr val="FFFFFF"/>
      </a:lt1>
      <a:dk2>
        <a:srgbClr val="FF3700"/>
      </a:dk2>
      <a:lt2>
        <a:srgbClr val="BAC48C"/>
      </a:lt2>
      <a:accent1>
        <a:srgbClr val="DCD4C2"/>
      </a:accent1>
      <a:accent2>
        <a:srgbClr val="C5BCA4"/>
      </a:accent2>
      <a:accent3>
        <a:srgbClr val="FFFFFF"/>
      </a:accent3>
      <a:accent4>
        <a:srgbClr val="595959"/>
      </a:accent4>
      <a:accent5>
        <a:srgbClr val="EBE6DD"/>
      </a:accent5>
      <a:accent6>
        <a:srgbClr val="B2AA94"/>
      </a:accent6>
      <a:hlink>
        <a:srgbClr val="8B819E"/>
      </a:hlink>
      <a:folHlink>
        <a:srgbClr val="9DB1C9"/>
      </a:folHlink>
    </a:clrScheme>
    <a:fontScheme name="ArcelorMittal_ppt_special_(with_images)">
      <a:majorFont>
        <a:latin typeface="Arial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MS PGothic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MS PGothic" pitchFamily="34" charset="-128"/>
          </a:defRPr>
        </a:defPPr>
      </a:lstStyle>
    </a:lnDef>
  </a:objectDefaults>
  <a:extraClrSchemeLst>
    <a:extraClrScheme>
      <a:clrScheme name="ArcelorMittal_ppt_special_(with_images) 1">
        <a:dk1>
          <a:srgbClr val="696969"/>
        </a:dk1>
        <a:lt1>
          <a:srgbClr val="FFFFFF"/>
        </a:lt1>
        <a:dk2>
          <a:srgbClr val="FF3700"/>
        </a:dk2>
        <a:lt2>
          <a:srgbClr val="BAC48C"/>
        </a:lt2>
        <a:accent1>
          <a:srgbClr val="DCD4C2"/>
        </a:accent1>
        <a:accent2>
          <a:srgbClr val="C5BCA4"/>
        </a:accent2>
        <a:accent3>
          <a:srgbClr val="FFFFFF"/>
        </a:accent3>
        <a:accent4>
          <a:srgbClr val="595959"/>
        </a:accent4>
        <a:accent5>
          <a:srgbClr val="EBE6DD"/>
        </a:accent5>
        <a:accent6>
          <a:srgbClr val="B2AA94"/>
        </a:accent6>
        <a:hlink>
          <a:srgbClr val="8B819E"/>
        </a:hlink>
        <a:folHlink>
          <a:srgbClr val="9DB1C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18_PresentationV8">
  <a:themeElements>
    <a:clrScheme name="PresentationV8 1">
      <a:dk1>
        <a:srgbClr val="696969"/>
      </a:dk1>
      <a:lt1>
        <a:srgbClr val="FFFFFF"/>
      </a:lt1>
      <a:dk2>
        <a:srgbClr val="FF3700"/>
      </a:dk2>
      <a:lt2>
        <a:srgbClr val="BAC48C"/>
      </a:lt2>
      <a:accent1>
        <a:srgbClr val="DCD4C2"/>
      </a:accent1>
      <a:accent2>
        <a:srgbClr val="C5BCA4"/>
      </a:accent2>
      <a:accent3>
        <a:srgbClr val="FFFFFF"/>
      </a:accent3>
      <a:accent4>
        <a:srgbClr val="595959"/>
      </a:accent4>
      <a:accent5>
        <a:srgbClr val="EBE6DD"/>
      </a:accent5>
      <a:accent6>
        <a:srgbClr val="B2AA94"/>
      </a:accent6>
      <a:hlink>
        <a:srgbClr val="8B819E"/>
      </a:hlink>
      <a:folHlink>
        <a:srgbClr val="9DB1C9"/>
      </a:folHlink>
    </a:clrScheme>
    <a:fontScheme name="PresentationV8">
      <a:majorFont>
        <a:latin typeface="Arial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-25000" smtClean="0">
            <a:ln>
              <a:noFill/>
            </a:ln>
            <a:solidFill>
              <a:srgbClr val="FAFFFF"/>
            </a:solidFill>
            <a:effectLst/>
            <a:latin typeface="Arial" pitchFamily="34" charset="0"/>
            <a:ea typeface="MS PGothic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-25000" smtClean="0">
            <a:ln>
              <a:noFill/>
            </a:ln>
            <a:solidFill>
              <a:srgbClr val="FAFFFF"/>
            </a:solidFill>
            <a:effectLst/>
            <a:latin typeface="Arial" pitchFamily="34" charset="0"/>
            <a:ea typeface="MS PGothic" pitchFamily="34" charset="-128"/>
          </a:defRPr>
        </a:defPPr>
      </a:lstStyle>
    </a:lnDef>
  </a:objectDefaults>
  <a:extraClrSchemeLst>
    <a:extraClrScheme>
      <a:clrScheme name="PresentationV8 1">
        <a:dk1>
          <a:srgbClr val="696969"/>
        </a:dk1>
        <a:lt1>
          <a:srgbClr val="FFFFFF"/>
        </a:lt1>
        <a:dk2>
          <a:srgbClr val="FF3700"/>
        </a:dk2>
        <a:lt2>
          <a:srgbClr val="BAC48C"/>
        </a:lt2>
        <a:accent1>
          <a:srgbClr val="DCD4C2"/>
        </a:accent1>
        <a:accent2>
          <a:srgbClr val="C5BCA4"/>
        </a:accent2>
        <a:accent3>
          <a:srgbClr val="FFFFFF"/>
        </a:accent3>
        <a:accent4>
          <a:srgbClr val="595959"/>
        </a:accent4>
        <a:accent5>
          <a:srgbClr val="EBE6DD"/>
        </a:accent5>
        <a:accent6>
          <a:srgbClr val="B2AA94"/>
        </a:accent6>
        <a:hlink>
          <a:srgbClr val="8B819E"/>
        </a:hlink>
        <a:folHlink>
          <a:srgbClr val="9DB1C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11_PresentationV8">
  <a:themeElements>
    <a:clrScheme name="PresentationV8 1">
      <a:dk1>
        <a:srgbClr val="696969"/>
      </a:dk1>
      <a:lt1>
        <a:srgbClr val="FFFFFF"/>
      </a:lt1>
      <a:dk2>
        <a:srgbClr val="FF3700"/>
      </a:dk2>
      <a:lt2>
        <a:srgbClr val="BAC48C"/>
      </a:lt2>
      <a:accent1>
        <a:srgbClr val="DCD4C2"/>
      </a:accent1>
      <a:accent2>
        <a:srgbClr val="C5BCA4"/>
      </a:accent2>
      <a:accent3>
        <a:srgbClr val="FFFFFF"/>
      </a:accent3>
      <a:accent4>
        <a:srgbClr val="595959"/>
      </a:accent4>
      <a:accent5>
        <a:srgbClr val="EBE6DD"/>
      </a:accent5>
      <a:accent6>
        <a:srgbClr val="B2AA94"/>
      </a:accent6>
      <a:hlink>
        <a:srgbClr val="8B819E"/>
      </a:hlink>
      <a:folHlink>
        <a:srgbClr val="9DB1C9"/>
      </a:folHlink>
    </a:clrScheme>
    <a:fontScheme name="PresentationV8">
      <a:majorFont>
        <a:latin typeface="Arial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-25000" smtClean="0">
            <a:ln>
              <a:noFill/>
            </a:ln>
            <a:solidFill>
              <a:srgbClr val="FAFFFF"/>
            </a:solidFill>
            <a:effectLst/>
            <a:latin typeface="Arial" pitchFamily="34" charset="0"/>
            <a:ea typeface="MS PGothic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-25000" smtClean="0">
            <a:ln>
              <a:noFill/>
            </a:ln>
            <a:solidFill>
              <a:srgbClr val="FAFFFF"/>
            </a:solidFill>
            <a:effectLst/>
            <a:latin typeface="Arial" pitchFamily="34" charset="0"/>
            <a:ea typeface="MS PGothic" pitchFamily="34" charset="-128"/>
          </a:defRPr>
        </a:defPPr>
      </a:lstStyle>
    </a:lnDef>
  </a:objectDefaults>
  <a:extraClrSchemeLst>
    <a:extraClrScheme>
      <a:clrScheme name="PresentationV8 1">
        <a:dk1>
          <a:srgbClr val="696969"/>
        </a:dk1>
        <a:lt1>
          <a:srgbClr val="FFFFFF"/>
        </a:lt1>
        <a:dk2>
          <a:srgbClr val="FF3700"/>
        </a:dk2>
        <a:lt2>
          <a:srgbClr val="BAC48C"/>
        </a:lt2>
        <a:accent1>
          <a:srgbClr val="DCD4C2"/>
        </a:accent1>
        <a:accent2>
          <a:srgbClr val="C5BCA4"/>
        </a:accent2>
        <a:accent3>
          <a:srgbClr val="FFFFFF"/>
        </a:accent3>
        <a:accent4>
          <a:srgbClr val="595959"/>
        </a:accent4>
        <a:accent5>
          <a:srgbClr val="EBE6DD"/>
        </a:accent5>
        <a:accent6>
          <a:srgbClr val="B2AA94"/>
        </a:accent6>
        <a:hlink>
          <a:srgbClr val="8B819E"/>
        </a:hlink>
        <a:folHlink>
          <a:srgbClr val="9DB1C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19_PresentationV8">
  <a:themeElements>
    <a:clrScheme name="PresentationV8 1">
      <a:dk1>
        <a:srgbClr val="696969"/>
      </a:dk1>
      <a:lt1>
        <a:srgbClr val="FFFFFF"/>
      </a:lt1>
      <a:dk2>
        <a:srgbClr val="FF3700"/>
      </a:dk2>
      <a:lt2>
        <a:srgbClr val="BAC48C"/>
      </a:lt2>
      <a:accent1>
        <a:srgbClr val="DCD4C2"/>
      </a:accent1>
      <a:accent2>
        <a:srgbClr val="C5BCA4"/>
      </a:accent2>
      <a:accent3>
        <a:srgbClr val="FFFFFF"/>
      </a:accent3>
      <a:accent4>
        <a:srgbClr val="595959"/>
      </a:accent4>
      <a:accent5>
        <a:srgbClr val="EBE6DD"/>
      </a:accent5>
      <a:accent6>
        <a:srgbClr val="B2AA94"/>
      </a:accent6>
      <a:hlink>
        <a:srgbClr val="8B819E"/>
      </a:hlink>
      <a:folHlink>
        <a:srgbClr val="9DB1C9"/>
      </a:folHlink>
    </a:clrScheme>
    <a:fontScheme name="PresentationV8">
      <a:majorFont>
        <a:latin typeface="Arial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-25000" smtClean="0">
            <a:ln>
              <a:noFill/>
            </a:ln>
            <a:solidFill>
              <a:srgbClr val="FAFFFF"/>
            </a:solidFill>
            <a:effectLst/>
            <a:latin typeface="Arial" pitchFamily="34" charset="0"/>
            <a:ea typeface="MS PGothic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-25000" smtClean="0">
            <a:ln>
              <a:noFill/>
            </a:ln>
            <a:solidFill>
              <a:srgbClr val="FAFFFF"/>
            </a:solidFill>
            <a:effectLst/>
            <a:latin typeface="Arial" pitchFamily="34" charset="0"/>
            <a:ea typeface="MS PGothic" pitchFamily="34" charset="-128"/>
          </a:defRPr>
        </a:defPPr>
      </a:lstStyle>
    </a:lnDef>
  </a:objectDefaults>
  <a:extraClrSchemeLst>
    <a:extraClrScheme>
      <a:clrScheme name="PresentationV8 1">
        <a:dk1>
          <a:srgbClr val="696969"/>
        </a:dk1>
        <a:lt1>
          <a:srgbClr val="FFFFFF"/>
        </a:lt1>
        <a:dk2>
          <a:srgbClr val="FF3700"/>
        </a:dk2>
        <a:lt2>
          <a:srgbClr val="BAC48C"/>
        </a:lt2>
        <a:accent1>
          <a:srgbClr val="DCD4C2"/>
        </a:accent1>
        <a:accent2>
          <a:srgbClr val="C5BCA4"/>
        </a:accent2>
        <a:accent3>
          <a:srgbClr val="FFFFFF"/>
        </a:accent3>
        <a:accent4>
          <a:srgbClr val="595959"/>
        </a:accent4>
        <a:accent5>
          <a:srgbClr val="EBE6DD"/>
        </a:accent5>
        <a:accent6>
          <a:srgbClr val="B2AA94"/>
        </a:accent6>
        <a:hlink>
          <a:srgbClr val="8B819E"/>
        </a:hlink>
        <a:folHlink>
          <a:srgbClr val="9DB1C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20_PresentationV8">
  <a:themeElements>
    <a:clrScheme name="PresentationV8 1">
      <a:dk1>
        <a:srgbClr val="696969"/>
      </a:dk1>
      <a:lt1>
        <a:srgbClr val="FFFFFF"/>
      </a:lt1>
      <a:dk2>
        <a:srgbClr val="FF3700"/>
      </a:dk2>
      <a:lt2>
        <a:srgbClr val="BAC48C"/>
      </a:lt2>
      <a:accent1>
        <a:srgbClr val="DCD4C2"/>
      </a:accent1>
      <a:accent2>
        <a:srgbClr val="C5BCA4"/>
      </a:accent2>
      <a:accent3>
        <a:srgbClr val="FFFFFF"/>
      </a:accent3>
      <a:accent4>
        <a:srgbClr val="595959"/>
      </a:accent4>
      <a:accent5>
        <a:srgbClr val="EBE6DD"/>
      </a:accent5>
      <a:accent6>
        <a:srgbClr val="B2AA94"/>
      </a:accent6>
      <a:hlink>
        <a:srgbClr val="8B819E"/>
      </a:hlink>
      <a:folHlink>
        <a:srgbClr val="9DB1C9"/>
      </a:folHlink>
    </a:clrScheme>
    <a:fontScheme name="PresentationV8">
      <a:majorFont>
        <a:latin typeface="Arial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-25000" smtClean="0">
            <a:ln>
              <a:noFill/>
            </a:ln>
            <a:solidFill>
              <a:srgbClr val="FAFFFF"/>
            </a:solidFill>
            <a:effectLst/>
            <a:latin typeface="Arial" pitchFamily="34" charset="0"/>
            <a:ea typeface="MS PGothic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-25000" smtClean="0">
            <a:ln>
              <a:noFill/>
            </a:ln>
            <a:solidFill>
              <a:srgbClr val="FAFFFF"/>
            </a:solidFill>
            <a:effectLst/>
            <a:latin typeface="Arial" pitchFamily="34" charset="0"/>
            <a:ea typeface="MS PGothic" pitchFamily="34" charset="-128"/>
          </a:defRPr>
        </a:defPPr>
      </a:lstStyle>
    </a:lnDef>
  </a:objectDefaults>
  <a:extraClrSchemeLst>
    <a:extraClrScheme>
      <a:clrScheme name="PresentationV8 1">
        <a:dk1>
          <a:srgbClr val="696969"/>
        </a:dk1>
        <a:lt1>
          <a:srgbClr val="FFFFFF"/>
        </a:lt1>
        <a:dk2>
          <a:srgbClr val="FF3700"/>
        </a:dk2>
        <a:lt2>
          <a:srgbClr val="BAC48C"/>
        </a:lt2>
        <a:accent1>
          <a:srgbClr val="DCD4C2"/>
        </a:accent1>
        <a:accent2>
          <a:srgbClr val="C5BCA4"/>
        </a:accent2>
        <a:accent3>
          <a:srgbClr val="FFFFFF"/>
        </a:accent3>
        <a:accent4>
          <a:srgbClr val="595959"/>
        </a:accent4>
        <a:accent5>
          <a:srgbClr val="EBE6DD"/>
        </a:accent5>
        <a:accent6>
          <a:srgbClr val="B2AA94"/>
        </a:accent6>
        <a:hlink>
          <a:srgbClr val="8B819E"/>
        </a:hlink>
        <a:folHlink>
          <a:srgbClr val="9DB1C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21_PresentationV8">
  <a:themeElements>
    <a:clrScheme name="PresentationV8 1">
      <a:dk1>
        <a:srgbClr val="696969"/>
      </a:dk1>
      <a:lt1>
        <a:srgbClr val="FFFFFF"/>
      </a:lt1>
      <a:dk2>
        <a:srgbClr val="FF3700"/>
      </a:dk2>
      <a:lt2>
        <a:srgbClr val="BAC48C"/>
      </a:lt2>
      <a:accent1>
        <a:srgbClr val="DCD4C2"/>
      </a:accent1>
      <a:accent2>
        <a:srgbClr val="C5BCA4"/>
      </a:accent2>
      <a:accent3>
        <a:srgbClr val="FFFFFF"/>
      </a:accent3>
      <a:accent4>
        <a:srgbClr val="595959"/>
      </a:accent4>
      <a:accent5>
        <a:srgbClr val="EBE6DD"/>
      </a:accent5>
      <a:accent6>
        <a:srgbClr val="B2AA94"/>
      </a:accent6>
      <a:hlink>
        <a:srgbClr val="8B819E"/>
      </a:hlink>
      <a:folHlink>
        <a:srgbClr val="9DB1C9"/>
      </a:folHlink>
    </a:clrScheme>
    <a:fontScheme name="PresentationV8">
      <a:majorFont>
        <a:latin typeface="Arial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-25000" smtClean="0">
            <a:ln>
              <a:noFill/>
            </a:ln>
            <a:solidFill>
              <a:srgbClr val="FAFFFF"/>
            </a:solidFill>
            <a:effectLst/>
            <a:latin typeface="Arial" pitchFamily="34" charset="0"/>
            <a:ea typeface="MS PGothic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-25000" smtClean="0">
            <a:ln>
              <a:noFill/>
            </a:ln>
            <a:solidFill>
              <a:srgbClr val="FAFFFF"/>
            </a:solidFill>
            <a:effectLst/>
            <a:latin typeface="Arial" pitchFamily="34" charset="0"/>
            <a:ea typeface="MS PGothic" pitchFamily="34" charset="-128"/>
          </a:defRPr>
        </a:defPPr>
      </a:lstStyle>
    </a:lnDef>
  </a:objectDefaults>
  <a:extraClrSchemeLst>
    <a:extraClrScheme>
      <a:clrScheme name="PresentationV8 1">
        <a:dk1>
          <a:srgbClr val="696969"/>
        </a:dk1>
        <a:lt1>
          <a:srgbClr val="FFFFFF"/>
        </a:lt1>
        <a:dk2>
          <a:srgbClr val="FF3700"/>
        </a:dk2>
        <a:lt2>
          <a:srgbClr val="BAC48C"/>
        </a:lt2>
        <a:accent1>
          <a:srgbClr val="DCD4C2"/>
        </a:accent1>
        <a:accent2>
          <a:srgbClr val="C5BCA4"/>
        </a:accent2>
        <a:accent3>
          <a:srgbClr val="FFFFFF"/>
        </a:accent3>
        <a:accent4>
          <a:srgbClr val="595959"/>
        </a:accent4>
        <a:accent5>
          <a:srgbClr val="EBE6DD"/>
        </a:accent5>
        <a:accent6>
          <a:srgbClr val="B2AA94"/>
        </a:accent6>
        <a:hlink>
          <a:srgbClr val="8B819E"/>
        </a:hlink>
        <a:folHlink>
          <a:srgbClr val="9DB1C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2_AM_Template9">
  <a:themeElements>
    <a:clrScheme name="2_AM_Template9 1">
      <a:dk1>
        <a:srgbClr val="696969"/>
      </a:dk1>
      <a:lt1>
        <a:srgbClr val="FFFFFF"/>
      </a:lt1>
      <a:dk2>
        <a:srgbClr val="FF3700"/>
      </a:dk2>
      <a:lt2>
        <a:srgbClr val="BAC48C"/>
      </a:lt2>
      <a:accent1>
        <a:srgbClr val="DCD4C2"/>
      </a:accent1>
      <a:accent2>
        <a:srgbClr val="C5BCA4"/>
      </a:accent2>
      <a:accent3>
        <a:srgbClr val="FFFFFF"/>
      </a:accent3>
      <a:accent4>
        <a:srgbClr val="595959"/>
      </a:accent4>
      <a:accent5>
        <a:srgbClr val="EBE6DD"/>
      </a:accent5>
      <a:accent6>
        <a:srgbClr val="B2AA94"/>
      </a:accent6>
      <a:hlink>
        <a:srgbClr val="8B819E"/>
      </a:hlink>
      <a:folHlink>
        <a:srgbClr val="9DB1C9"/>
      </a:folHlink>
    </a:clrScheme>
    <a:fontScheme name="2_AM_Template9">
      <a:majorFont>
        <a:latin typeface="Arial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AM_Template9 1">
        <a:dk1>
          <a:srgbClr val="696969"/>
        </a:dk1>
        <a:lt1>
          <a:srgbClr val="FFFFFF"/>
        </a:lt1>
        <a:dk2>
          <a:srgbClr val="FF3700"/>
        </a:dk2>
        <a:lt2>
          <a:srgbClr val="BAC48C"/>
        </a:lt2>
        <a:accent1>
          <a:srgbClr val="DCD4C2"/>
        </a:accent1>
        <a:accent2>
          <a:srgbClr val="C5BCA4"/>
        </a:accent2>
        <a:accent3>
          <a:srgbClr val="FFFFFF"/>
        </a:accent3>
        <a:accent4>
          <a:srgbClr val="595959"/>
        </a:accent4>
        <a:accent5>
          <a:srgbClr val="EBE6DD"/>
        </a:accent5>
        <a:accent6>
          <a:srgbClr val="B2AA94"/>
        </a:accent6>
        <a:hlink>
          <a:srgbClr val="8B819E"/>
        </a:hlink>
        <a:folHlink>
          <a:srgbClr val="9DB1C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23_PresentationV8">
  <a:themeElements>
    <a:clrScheme name="PresentationV8 1">
      <a:dk1>
        <a:srgbClr val="696969"/>
      </a:dk1>
      <a:lt1>
        <a:srgbClr val="FFFFFF"/>
      </a:lt1>
      <a:dk2>
        <a:srgbClr val="FF3700"/>
      </a:dk2>
      <a:lt2>
        <a:srgbClr val="BAC48C"/>
      </a:lt2>
      <a:accent1>
        <a:srgbClr val="DCD4C2"/>
      </a:accent1>
      <a:accent2>
        <a:srgbClr val="C5BCA4"/>
      </a:accent2>
      <a:accent3>
        <a:srgbClr val="FFFFFF"/>
      </a:accent3>
      <a:accent4>
        <a:srgbClr val="595959"/>
      </a:accent4>
      <a:accent5>
        <a:srgbClr val="EBE6DD"/>
      </a:accent5>
      <a:accent6>
        <a:srgbClr val="B2AA94"/>
      </a:accent6>
      <a:hlink>
        <a:srgbClr val="8B819E"/>
      </a:hlink>
      <a:folHlink>
        <a:srgbClr val="9DB1C9"/>
      </a:folHlink>
    </a:clrScheme>
    <a:fontScheme name="PresentationV8">
      <a:majorFont>
        <a:latin typeface="Arial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-25000" smtClean="0">
            <a:ln>
              <a:noFill/>
            </a:ln>
            <a:solidFill>
              <a:srgbClr val="FAFFFF"/>
            </a:solidFill>
            <a:effectLst/>
            <a:latin typeface="Arial" pitchFamily="34" charset="0"/>
            <a:ea typeface="MS PGothic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-25000" smtClean="0">
            <a:ln>
              <a:noFill/>
            </a:ln>
            <a:solidFill>
              <a:srgbClr val="FAFFFF"/>
            </a:solidFill>
            <a:effectLst/>
            <a:latin typeface="Arial" pitchFamily="34" charset="0"/>
            <a:ea typeface="MS PGothic" pitchFamily="34" charset="-128"/>
          </a:defRPr>
        </a:defPPr>
      </a:lstStyle>
    </a:lnDef>
  </a:objectDefaults>
  <a:extraClrSchemeLst>
    <a:extraClrScheme>
      <a:clrScheme name="PresentationV8 1">
        <a:dk1>
          <a:srgbClr val="696969"/>
        </a:dk1>
        <a:lt1>
          <a:srgbClr val="FFFFFF"/>
        </a:lt1>
        <a:dk2>
          <a:srgbClr val="FF3700"/>
        </a:dk2>
        <a:lt2>
          <a:srgbClr val="BAC48C"/>
        </a:lt2>
        <a:accent1>
          <a:srgbClr val="DCD4C2"/>
        </a:accent1>
        <a:accent2>
          <a:srgbClr val="C5BCA4"/>
        </a:accent2>
        <a:accent3>
          <a:srgbClr val="FFFFFF"/>
        </a:accent3>
        <a:accent4>
          <a:srgbClr val="595959"/>
        </a:accent4>
        <a:accent5>
          <a:srgbClr val="EBE6DD"/>
        </a:accent5>
        <a:accent6>
          <a:srgbClr val="B2AA94"/>
        </a:accent6>
        <a:hlink>
          <a:srgbClr val="8B819E"/>
        </a:hlink>
        <a:folHlink>
          <a:srgbClr val="9DB1C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24_PresentationV8">
  <a:themeElements>
    <a:clrScheme name="PresentationV8 1">
      <a:dk1>
        <a:srgbClr val="696969"/>
      </a:dk1>
      <a:lt1>
        <a:srgbClr val="FFFFFF"/>
      </a:lt1>
      <a:dk2>
        <a:srgbClr val="FF3700"/>
      </a:dk2>
      <a:lt2>
        <a:srgbClr val="BAC48C"/>
      </a:lt2>
      <a:accent1>
        <a:srgbClr val="DCD4C2"/>
      </a:accent1>
      <a:accent2>
        <a:srgbClr val="C5BCA4"/>
      </a:accent2>
      <a:accent3>
        <a:srgbClr val="FFFFFF"/>
      </a:accent3>
      <a:accent4>
        <a:srgbClr val="595959"/>
      </a:accent4>
      <a:accent5>
        <a:srgbClr val="EBE6DD"/>
      </a:accent5>
      <a:accent6>
        <a:srgbClr val="B2AA94"/>
      </a:accent6>
      <a:hlink>
        <a:srgbClr val="8B819E"/>
      </a:hlink>
      <a:folHlink>
        <a:srgbClr val="9DB1C9"/>
      </a:folHlink>
    </a:clrScheme>
    <a:fontScheme name="PresentationV8">
      <a:majorFont>
        <a:latin typeface="Arial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-25000" smtClean="0">
            <a:ln>
              <a:noFill/>
            </a:ln>
            <a:solidFill>
              <a:srgbClr val="FAFFFF"/>
            </a:solidFill>
            <a:effectLst/>
            <a:latin typeface="Arial" pitchFamily="34" charset="0"/>
            <a:ea typeface="MS PGothic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-25000" smtClean="0">
            <a:ln>
              <a:noFill/>
            </a:ln>
            <a:solidFill>
              <a:srgbClr val="FAFFFF"/>
            </a:solidFill>
            <a:effectLst/>
            <a:latin typeface="Arial" pitchFamily="34" charset="0"/>
            <a:ea typeface="MS PGothic" pitchFamily="34" charset="-128"/>
          </a:defRPr>
        </a:defPPr>
      </a:lstStyle>
    </a:lnDef>
  </a:objectDefaults>
  <a:extraClrSchemeLst>
    <a:extraClrScheme>
      <a:clrScheme name="PresentationV8 1">
        <a:dk1>
          <a:srgbClr val="696969"/>
        </a:dk1>
        <a:lt1>
          <a:srgbClr val="FFFFFF"/>
        </a:lt1>
        <a:dk2>
          <a:srgbClr val="FF3700"/>
        </a:dk2>
        <a:lt2>
          <a:srgbClr val="BAC48C"/>
        </a:lt2>
        <a:accent1>
          <a:srgbClr val="DCD4C2"/>
        </a:accent1>
        <a:accent2>
          <a:srgbClr val="C5BCA4"/>
        </a:accent2>
        <a:accent3>
          <a:srgbClr val="FFFFFF"/>
        </a:accent3>
        <a:accent4>
          <a:srgbClr val="595959"/>
        </a:accent4>
        <a:accent5>
          <a:srgbClr val="EBE6DD"/>
        </a:accent5>
        <a:accent6>
          <a:srgbClr val="B2AA94"/>
        </a:accent6>
        <a:hlink>
          <a:srgbClr val="8B819E"/>
        </a:hlink>
        <a:folHlink>
          <a:srgbClr val="9DB1C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7_PresentationV8">
  <a:themeElements>
    <a:clrScheme name="PresentationV8 1">
      <a:dk1>
        <a:srgbClr val="696969"/>
      </a:dk1>
      <a:lt1>
        <a:srgbClr val="FFFFFF"/>
      </a:lt1>
      <a:dk2>
        <a:srgbClr val="FF3700"/>
      </a:dk2>
      <a:lt2>
        <a:srgbClr val="BAC48C"/>
      </a:lt2>
      <a:accent1>
        <a:srgbClr val="DCD4C2"/>
      </a:accent1>
      <a:accent2>
        <a:srgbClr val="C5BCA4"/>
      </a:accent2>
      <a:accent3>
        <a:srgbClr val="FFFFFF"/>
      </a:accent3>
      <a:accent4>
        <a:srgbClr val="595959"/>
      </a:accent4>
      <a:accent5>
        <a:srgbClr val="EBE6DD"/>
      </a:accent5>
      <a:accent6>
        <a:srgbClr val="B2AA94"/>
      </a:accent6>
      <a:hlink>
        <a:srgbClr val="8B819E"/>
      </a:hlink>
      <a:folHlink>
        <a:srgbClr val="9DB1C9"/>
      </a:folHlink>
    </a:clrScheme>
    <a:fontScheme name="PresentationV8">
      <a:majorFont>
        <a:latin typeface="Arial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-25000" smtClean="0">
            <a:ln>
              <a:noFill/>
            </a:ln>
            <a:solidFill>
              <a:srgbClr val="FAFFFF"/>
            </a:solidFill>
            <a:effectLst/>
            <a:latin typeface="Arial" pitchFamily="34" charset="0"/>
            <a:ea typeface="MS PGothic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-25000" smtClean="0">
            <a:ln>
              <a:noFill/>
            </a:ln>
            <a:solidFill>
              <a:srgbClr val="FAFFFF"/>
            </a:solidFill>
            <a:effectLst/>
            <a:latin typeface="Arial" pitchFamily="34" charset="0"/>
            <a:ea typeface="MS PGothic" pitchFamily="34" charset="-128"/>
          </a:defRPr>
        </a:defPPr>
      </a:lstStyle>
    </a:lnDef>
  </a:objectDefaults>
  <a:extraClrSchemeLst>
    <a:extraClrScheme>
      <a:clrScheme name="PresentationV8 1">
        <a:dk1>
          <a:srgbClr val="696969"/>
        </a:dk1>
        <a:lt1>
          <a:srgbClr val="FFFFFF"/>
        </a:lt1>
        <a:dk2>
          <a:srgbClr val="FF3700"/>
        </a:dk2>
        <a:lt2>
          <a:srgbClr val="BAC48C"/>
        </a:lt2>
        <a:accent1>
          <a:srgbClr val="DCD4C2"/>
        </a:accent1>
        <a:accent2>
          <a:srgbClr val="C5BCA4"/>
        </a:accent2>
        <a:accent3>
          <a:srgbClr val="FFFFFF"/>
        </a:accent3>
        <a:accent4>
          <a:srgbClr val="595959"/>
        </a:accent4>
        <a:accent5>
          <a:srgbClr val="EBE6DD"/>
        </a:accent5>
        <a:accent6>
          <a:srgbClr val="B2AA94"/>
        </a:accent6>
        <a:hlink>
          <a:srgbClr val="8B819E"/>
        </a:hlink>
        <a:folHlink>
          <a:srgbClr val="9DB1C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2_PresentationV8">
  <a:themeElements>
    <a:clrScheme name="PresentationV8 1">
      <a:dk1>
        <a:srgbClr val="696969"/>
      </a:dk1>
      <a:lt1>
        <a:srgbClr val="FFFFFF"/>
      </a:lt1>
      <a:dk2>
        <a:srgbClr val="FF3700"/>
      </a:dk2>
      <a:lt2>
        <a:srgbClr val="BAC48C"/>
      </a:lt2>
      <a:accent1>
        <a:srgbClr val="DCD4C2"/>
      </a:accent1>
      <a:accent2>
        <a:srgbClr val="C5BCA4"/>
      </a:accent2>
      <a:accent3>
        <a:srgbClr val="FFFFFF"/>
      </a:accent3>
      <a:accent4>
        <a:srgbClr val="595959"/>
      </a:accent4>
      <a:accent5>
        <a:srgbClr val="EBE6DD"/>
      </a:accent5>
      <a:accent6>
        <a:srgbClr val="B2AA94"/>
      </a:accent6>
      <a:hlink>
        <a:srgbClr val="8B819E"/>
      </a:hlink>
      <a:folHlink>
        <a:srgbClr val="9DB1C9"/>
      </a:folHlink>
    </a:clrScheme>
    <a:fontScheme name="PresentationV8">
      <a:majorFont>
        <a:latin typeface="Arial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-25000" smtClean="0">
            <a:ln>
              <a:noFill/>
            </a:ln>
            <a:solidFill>
              <a:srgbClr val="FAFFFF"/>
            </a:solidFill>
            <a:effectLst/>
            <a:latin typeface="Arial" pitchFamily="34" charset="0"/>
            <a:ea typeface="MS PGothic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-25000" smtClean="0">
            <a:ln>
              <a:noFill/>
            </a:ln>
            <a:solidFill>
              <a:srgbClr val="FAFFFF"/>
            </a:solidFill>
            <a:effectLst/>
            <a:latin typeface="Arial" pitchFamily="34" charset="0"/>
            <a:ea typeface="MS PGothic" pitchFamily="34" charset="-128"/>
          </a:defRPr>
        </a:defPPr>
      </a:lstStyle>
    </a:lnDef>
  </a:objectDefaults>
  <a:extraClrSchemeLst>
    <a:extraClrScheme>
      <a:clrScheme name="PresentationV8 1">
        <a:dk1>
          <a:srgbClr val="696969"/>
        </a:dk1>
        <a:lt1>
          <a:srgbClr val="FFFFFF"/>
        </a:lt1>
        <a:dk2>
          <a:srgbClr val="FF3700"/>
        </a:dk2>
        <a:lt2>
          <a:srgbClr val="BAC48C"/>
        </a:lt2>
        <a:accent1>
          <a:srgbClr val="DCD4C2"/>
        </a:accent1>
        <a:accent2>
          <a:srgbClr val="C5BCA4"/>
        </a:accent2>
        <a:accent3>
          <a:srgbClr val="FFFFFF"/>
        </a:accent3>
        <a:accent4>
          <a:srgbClr val="595959"/>
        </a:accent4>
        <a:accent5>
          <a:srgbClr val="EBE6DD"/>
        </a:accent5>
        <a:accent6>
          <a:srgbClr val="B2AA94"/>
        </a:accent6>
        <a:hlink>
          <a:srgbClr val="8B819E"/>
        </a:hlink>
        <a:folHlink>
          <a:srgbClr val="9DB1C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3_PresentationV8">
  <a:themeElements>
    <a:clrScheme name="PresentationV8 1">
      <a:dk1>
        <a:srgbClr val="696969"/>
      </a:dk1>
      <a:lt1>
        <a:srgbClr val="FFFFFF"/>
      </a:lt1>
      <a:dk2>
        <a:srgbClr val="FF3700"/>
      </a:dk2>
      <a:lt2>
        <a:srgbClr val="BAC48C"/>
      </a:lt2>
      <a:accent1>
        <a:srgbClr val="DCD4C2"/>
      </a:accent1>
      <a:accent2>
        <a:srgbClr val="C5BCA4"/>
      </a:accent2>
      <a:accent3>
        <a:srgbClr val="FFFFFF"/>
      </a:accent3>
      <a:accent4>
        <a:srgbClr val="595959"/>
      </a:accent4>
      <a:accent5>
        <a:srgbClr val="EBE6DD"/>
      </a:accent5>
      <a:accent6>
        <a:srgbClr val="B2AA94"/>
      </a:accent6>
      <a:hlink>
        <a:srgbClr val="8B819E"/>
      </a:hlink>
      <a:folHlink>
        <a:srgbClr val="9DB1C9"/>
      </a:folHlink>
    </a:clrScheme>
    <a:fontScheme name="PresentationV8">
      <a:majorFont>
        <a:latin typeface="Arial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-25000" smtClean="0">
            <a:ln>
              <a:noFill/>
            </a:ln>
            <a:solidFill>
              <a:srgbClr val="FAFFFF"/>
            </a:solidFill>
            <a:effectLst/>
            <a:latin typeface="Arial" pitchFamily="34" charset="0"/>
            <a:ea typeface="MS PGothic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-25000" smtClean="0">
            <a:ln>
              <a:noFill/>
            </a:ln>
            <a:solidFill>
              <a:srgbClr val="FAFFFF"/>
            </a:solidFill>
            <a:effectLst/>
            <a:latin typeface="Arial" pitchFamily="34" charset="0"/>
            <a:ea typeface="MS PGothic" pitchFamily="34" charset="-128"/>
          </a:defRPr>
        </a:defPPr>
      </a:lstStyle>
    </a:lnDef>
  </a:objectDefaults>
  <a:extraClrSchemeLst>
    <a:extraClrScheme>
      <a:clrScheme name="PresentationV8 1">
        <a:dk1>
          <a:srgbClr val="696969"/>
        </a:dk1>
        <a:lt1>
          <a:srgbClr val="FFFFFF"/>
        </a:lt1>
        <a:dk2>
          <a:srgbClr val="FF3700"/>
        </a:dk2>
        <a:lt2>
          <a:srgbClr val="BAC48C"/>
        </a:lt2>
        <a:accent1>
          <a:srgbClr val="DCD4C2"/>
        </a:accent1>
        <a:accent2>
          <a:srgbClr val="C5BCA4"/>
        </a:accent2>
        <a:accent3>
          <a:srgbClr val="FFFFFF"/>
        </a:accent3>
        <a:accent4>
          <a:srgbClr val="595959"/>
        </a:accent4>
        <a:accent5>
          <a:srgbClr val="EBE6DD"/>
        </a:accent5>
        <a:accent6>
          <a:srgbClr val="B2AA94"/>
        </a:accent6>
        <a:hlink>
          <a:srgbClr val="8B819E"/>
        </a:hlink>
        <a:folHlink>
          <a:srgbClr val="9DB1C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0_PresentationV8">
  <a:themeElements>
    <a:clrScheme name="PresentationV8 1">
      <a:dk1>
        <a:srgbClr val="696969"/>
      </a:dk1>
      <a:lt1>
        <a:srgbClr val="FFFFFF"/>
      </a:lt1>
      <a:dk2>
        <a:srgbClr val="FF3700"/>
      </a:dk2>
      <a:lt2>
        <a:srgbClr val="BAC48C"/>
      </a:lt2>
      <a:accent1>
        <a:srgbClr val="DCD4C2"/>
      </a:accent1>
      <a:accent2>
        <a:srgbClr val="C5BCA4"/>
      </a:accent2>
      <a:accent3>
        <a:srgbClr val="FFFFFF"/>
      </a:accent3>
      <a:accent4>
        <a:srgbClr val="595959"/>
      </a:accent4>
      <a:accent5>
        <a:srgbClr val="EBE6DD"/>
      </a:accent5>
      <a:accent6>
        <a:srgbClr val="B2AA94"/>
      </a:accent6>
      <a:hlink>
        <a:srgbClr val="8B819E"/>
      </a:hlink>
      <a:folHlink>
        <a:srgbClr val="9DB1C9"/>
      </a:folHlink>
    </a:clrScheme>
    <a:fontScheme name="PresentationV8">
      <a:majorFont>
        <a:latin typeface="Arial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-25000" smtClean="0">
            <a:ln>
              <a:noFill/>
            </a:ln>
            <a:solidFill>
              <a:srgbClr val="FAFFFF"/>
            </a:solidFill>
            <a:effectLst/>
            <a:latin typeface="Arial" pitchFamily="34" charset="0"/>
            <a:ea typeface="MS PGothic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-25000" smtClean="0">
            <a:ln>
              <a:noFill/>
            </a:ln>
            <a:solidFill>
              <a:srgbClr val="FAFFFF"/>
            </a:solidFill>
            <a:effectLst/>
            <a:latin typeface="Arial" pitchFamily="34" charset="0"/>
            <a:ea typeface="MS PGothic" pitchFamily="34" charset="-128"/>
          </a:defRPr>
        </a:defPPr>
      </a:lstStyle>
    </a:lnDef>
  </a:objectDefaults>
  <a:extraClrSchemeLst>
    <a:extraClrScheme>
      <a:clrScheme name="PresentationV8 1">
        <a:dk1>
          <a:srgbClr val="696969"/>
        </a:dk1>
        <a:lt1>
          <a:srgbClr val="FFFFFF"/>
        </a:lt1>
        <a:dk2>
          <a:srgbClr val="FF3700"/>
        </a:dk2>
        <a:lt2>
          <a:srgbClr val="BAC48C"/>
        </a:lt2>
        <a:accent1>
          <a:srgbClr val="DCD4C2"/>
        </a:accent1>
        <a:accent2>
          <a:srgbClr val="C5BCA4"/>
        </a:accent2>
        <a:accent3>
          <a:srgbClr val="FFFFFF"/>
        </a:accent3>
        <a:accent4>
          <a:srgbClr val="595959"/>
        </a:accent4>
        <a:accent5>
          <a:srgbClr val="EBE6DD"/>
        </a:accent5>
        <a:accent6>
          <a:srgbClr val="B2AA94"/>
        </a:accent6>
        <a:hlink>
          <a:srgbClr val="8B819E"/>
        </a:hlink>
        <a:folHlink>
          <a:srgbClr val="9DB1C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4_PresentationV8">
  <a:themeElements>
    <a:clrScheme name="PresentationV8 1">
      <a:dk1>
        <a:srgbClr val="696969"/>
      </a:dk1>
      <a:lt1>
        <a:srgbClr val="FFFFFF"/>
      </a:lt1>
      <a:dk2>
        <a:srgbClr val="FF3700"/>
      </a:dk2>
      <a:lt2>
        <a:srgbClr val="BAC48C"/>
      </a:lt2>
      <a:accent1>
        <a:srgbClr val="DCD4C2"/>
      </a:accent1>
      <a:accent2>
        <a:srgbClr val="C5BCA4"/>
      </a:accent2>
      <a:accent3>
        <a:srgbClr val="FFFFFF"/>
      </a:accent3>
      <a:accent4>
        <a:srgbClr val="595959"/>
      </a:accent4>
      <a:accent5>
        <a:srgbClr val="EBE6DD"/>
      </a:accent5>
      <a:accent6>
        <a:srgbClr val="B2AA94"/>
      </a:accent6>
      <a:hlink>
        <a:srgbClr val="8B819E"/>
      </a:hlink>
      <a:folHlink>
        <a:srgbClr val="9DB1C9"/>
      </a:folHlink>
    </a:clrScheme>
    <a:fontScheme name="PresentationV8">
      <a:majorFont>
        <a:latin typeface="Arial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-25000" smtClean="0">
            <a:ln>
              <a:noFill/>
            </a:ln>
            <a:solidFill>
              <a:srgbClr val="FAFFFF"/>
            </a:solidFill>
            <a:effectLst/>
            <a:latin typeface="Arial" pitchFamily="34" charset="0"/>
            <a:ea typeface="MS PGothic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-25000" smtClean="0">
            <a:ln>
              <a:noFill/>
            </a:ln>
            <a:solidFill>
              <a:srgbClr val="FAFFFF"/>
            </a:solidFill>
            <a:effectLst/>
            <a:latin typeface="Arial" pitchFamily="34" charset="0"/>
            <a:ea typeface="MS PGothic" pitchFamily="34" charset="-128"/>
          </a:defRPr>
        </a:defPPr>
      </a:lstStyle>
    </a:lnDef>
  </a:objectDefaults>
  <a:extraClrSchemeLst>
    <a:extraClrScheme>
      <a:clrScheme name="PresentationV8 1">
        <a:dk1>
          <a:srgbClr val="696969"/>
        </a:dk1>
        <a:lt1>
          <a:srgbClr val="FFFFFF"/>
        </a:lt1>
        <a:dk2>
          <a:srgbClr val="FF3700"/>
        </a:dk2>
        <a:lt2>
          <a:srgbClr val="BAC48C"/>
        </a:lt2>
        <a:accent1>
          <a:srgbClr val="DCD4C2"/>
        </a:accent1>
        <a:accent2>
          <a:srgbClr val="C5BCA4"/>
        </a:accent2>
        <a:accent3>
          <a:srgbClr val="FFFFFF"/>
        </a:accent3>
        <a:accent4>
          <a:srgbClr val="595959"/>
        </a:accent4>
        <a:accent5>
          <a:srgbClr val="EBE6DD"/>
        </a:accent5>
        <a:accent6>
          <a:srgbClr val="B2AA94"/>
        </a:accent6>
        <a:hlink>
          <a:srgbClr val="8B819E"/>
        </a:hlink>
        <a:folHlink>
          <a:srgbClr val="9DB1C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15_PresentationV8">
  <a:themeElements>
    <a:clrScheme name="PresentationV8 1">
      <a:dk1>
        <a:srgbClr val="696969"/>
      </a:dk1>
      <a:lt1>
        <a:srgbClr val="FFFFFF"/>
      </a:lt1>
      <a:dk2>
        <a:srgbClr val="FF3700"/>
      </a:dk2>
      <a:lt2>
        <a:srgbClr val="BAC48C"/>
      </a:lt2>
      <a:accent1>
        <a:srgbClr val="DCD4C2"/>
      </a:accent1>
      <a:accent2>
        <a:srgbClr val="C5BCA4"/>
      </a:accent2>
      <a:accent3>
        <a:srgbClr val="FFFFFF"/>
      </a:accent3>
      <a:accent4>
        <a:srgbClr val="595959"/>
      </a:accent4>
      <a:accent5>
        <a:srgbClr val="EBE6DD"/>
      </a:accent5>
      <a:accent6>
        <a:srgbClr val="B2AA94"/>
      </a:accent6>
      <a:hlink>
        <a:srgbClr val="8B819E"/>
      </a:hlink>
      <a:folHlink>
        <a:srgbClr val="9DB1C9"/>
      </a:folHlink>
    </a:clrScheme>
    <a:fontScheme name="PresentationV8">
      <a:majorFont>
        <a:latin typeface="Arial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-25000" smtClean="0">
            <a:ln>
              <a:noFill/>
            </a:ln>
            <a:solidFill>
              <a:srgbClr val="FAFFFF"/>
            </a:solidFill>
            <a:effectLst/>
            <a:latin typeface="Arial" pitchFamily="34" charset="0"/>
            <a:ea typeface="MS PGothic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-25000" smtClean="0">
            <a:ln>
              <a:noFill/>
            </a:ln>
            <a:solidFill>
              <a:srgbClr val="FAFFFF"/>
            </a:solidFill>
            <a:effectLst/>
            <a:latin typeface="Arial" pitchFamily="34" charset="0"/>
            <a:ea typeface="MS PGothic" pitchFamily="34" charset="-128"/>
          </a:defRPr>
        </a:defPPr>
      </a:lstStyle>
    </a:lnDef>
  </a:objectDefaults>
  <a:extraClrSchemeLst>
    <a:extraClrScheme>
      <a:clrScheme name="PresentationV8 1">
        <a:dk1>
          <a:srgbClr val="696969"/>
        </a:dk1>
        <a:lt1>
          <a:srgbClr val="FFFFFF"/>
        </a:lt1>
        <a:dk2>
          <a:srgbClr val="FF3700"/>
        </a:dk2>
        <a:lt2>
          <a:srgbClr val="BAC48C"/>
        </a:lt2>
        <a:accent1>
          <a:srgbClr val="DCD4C2"/>
        </a:accent1>
        <a:accent2>
          <a:srgbClr val="C5BCA4"/>
        </a:accent2>
        <a:accent3>
          <a:srgbClr val="FFFFFF"/>
        </a:accent3>
        <a:accent4>
          <a:srgbClr val="595959"/>
        </a:accent4>
        <a:accent5>
          <a:srgbClr val="EBE6DD"/>
        </a:accent5>
        <a:accent6>
          <a:srgbClr val="B2AA94"/>
        </a:accent6>
        <a:hlink>
          <a:srgbClr val="8B819E"/>
        </a:hlink>
        <a:folHlink>
          <a:srgbClr val="9DB1C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16_PresentationV8">
  <a:themeElements>
    <a:clrScheme name="PresentationV8 1">
      <a:dk1>
        <a:srgbClr val="696969"/>
      </a:dk1>
      <a:lt1>
        <a:srgbClr val="FFFFFF"/>
      </a:lt1>
      <a:dk2>
        <a:srgbClr val="FF3700"/>
      </a:dk2>
      <a:lt2>
        <a:srgbClr val="BAC48C"/>
      </a:lt2>
      <a:accent1>
        <a:srgbClr val="DCD4C2"/>
      </a:accent1>
      <a:accent2>
        <a:srgbClr val="C5BCA4"/>
      </a:accent2>
      <a:accent3>
        <a:srgbClr val="FFFFFF"/>
      </a:accent3>
      <a:accent4>
        <a:srgbClr val="595959"/>
      </a:accent4>
      <a:accent5>
        <a:srgbClr val="EBE6DD"/>
      </a:accent5>
      <a:accent6>
        <a:srgbClr val="B2AA94"/>
      </a:accent6>
      <a:hlink>
        <a:srgbClr val="8B819E"/>
      </a:hlink>
      <a:folHlink>
        <a:srgbClr val="9DB1C9"/>
      </a:folHlink>
    </a:clrScheme>
    <a:fontScheme name="PresentationV8">
      <a:majorFont>
        <a:latin typeface="Arial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-25000" smtClean="0">
            <a:ln>
              <a:noFill/>
            </a:ln>
            <a:solidFill>
              <a:srgbClr val="FAFFFF"/>
            </a:solidFill>
            <a:effectLst/>
            <a:latin typeface="Arial" pitchFamily="34" charset="0"/>
            <a:ea typeface="MS PGothic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-25000" smtClean="0">
            <a:ln>
              <a:noFill/>
            </a:ln>
            <a:solidFill>
              <a:srgbClr val="FAFFFF"/>
            </a:solidFill>
            <a:effectLst/>
            <a:latin typeface="Arial" pitchFamily="34" charset="0"/>
            <a:ea typeface="MS PGothic" pitchFamily="34" charset="-128"/>
          </a:defRPr>
        </a:defPPr>
      </a:lstStyle>
    </a:lnDef>
  </a:objectDefaults>
  <a:extraClrSchemeLst>
    <a:extraClrScheme>
      <a:clrScheme name="PresentationV8 1">
        <a:dk1>
          <a:srgbClr val="696969"/>
        </a:dk1>
        <a:lt1>
          <a:srgbClr val="FFFFFF"/>
        </a:lt1>
        <a:dk2>
          <a:srgbClr val="FF3700"/>
        </a:dk2>
        <a:lt2>
          <a:srgbClr val="BAC48C"/>
        </a:lt2>
        <a:accent1>
          <a:srgbClr val="DCD4C2"/>
        </a:accent1>
        <a:accent2>
          <a:srgbClr val="C5BCA4"/>
        </a:accent2>
        <a:accent3>
          <a:srgbClr val="FFFFFF"/>
        </a:accent3>
        <a:accent4>
          <a:srgbClr val="595959"/>
        </a:accent4>
        <a:accent5>
          <a:srgbClr val="EBE6DD"/>
        </a:accent5>
        <a:accent6>
          <a:srgbClr val="B2AA94"/>
        </a:accent6>
        <a:hlink>
          <a:srgbClr val="8B819E"/>
        </a:hlink>
        <a:folHlink>
          <a:srgbClr val="9DB1C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7_PresentationV8">
  <a:themeElements>
    <a:clrScheme name="PresentationV8 1">
      <a:dk1>
        <a:srgbClr val="696969"/>
      </a:dk1>
      <a:lt1>
        <a:srgbClr val="FFFFFF"/>
      </a:lt1>
      <a:dk2>
        <a:srgbClr val="FF3700"/>
      </a:dk2>
      <a:lt2>
        <a:srgbClr val="BAC48C"/>
      </a:lt2>
      <a:accent1>
        <a:srgbClr val="DCD4C2"/>
      </a:accent1>
      <a:accent2>
        <a:srgbClr val="C5BCA4"/>
      </a:accent2>
      <a:accent3>
        <a:srgbClr val="FFFFFF"/>
      </a:accent3>
      <a:accent4>
        <a:srgbClr val="595959"/>
      </a:accent4>
      <a:accent5>
        <a:srgbClr val="EBE6DD"/>
      </a:accent5>
      <a:accent6>
        <a:srgbClr val="B2AA94"/>
      </a:accent6>
      <a:hlink>
        <a:srgbClr val="8B819E"/>
      </a:hlink>
      <a:folHlink>
        <a:srgbClr val="9DB1C9"/>
      </a:folHlink>
    </a:clrScheme>
    <a:fontScheme name="PresentationV8">
      <a:majorFont>
        <a:latin typeface="Arial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-25000" smtClean="0">
            <a:ln>
              <a:noFill/>
            </a:ln>
            <a:solidFill>
              <a:srgbClr val="FAFFFF"/>
            </a:solidFill>
            <a:effectLst/>
            <a:latin typeface="Arial" pitchFamily="34" charset="0"/>
            <a:ea typeface="MS PGothic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-25000" smtClean="0">
            <a:ln>
              <a:noFill/>
            </a:ln>
            <a:solidFill>
              <a:srgbClr val="FAFFFF"/>
            </a:solidFill>
            <a:effectLst/>
            <a:latin typeface="Arial" pitchFamily="34" charset="0"/>
            <a:ea typeface="MS PGothic" pitchFamily="34" charset="-128"/>
          </a:defRPr>
        </a:defPPr>
      </a:lstStyle>
    </a:lnDef>
  </a:objectDefaults>
  <a:extraClrSchemeLst>
    <a:extraClrScheme>
      <a:clrScheme name="PresentationV8 1">
        <a:dk1>
          <a:srgbClr val="696969"/>
        </a:dk1>
        <a:lt1>
          <a:srgbClr val="FFFFFF"/>
        </a:lt1>
        <a:dk2>
          <a:srgbClr val="FF3700"/>
        </a:dk2>
        <a:lt2>
          <a:srgbClr val="BAC48C"/>
        </a:lt2>
        <a:accent1>
          <a:srgbClr val="DCD4C2"/>
        </a:accent1>
        <a:accent2>
          <a:srgbClr val="C5BCA4"/>
        </a:accent2>
        <a:accent3>
          <a:srgbClr val="FFFFFF"/>
        </a:accent3>
        <a:accent4>
          <a:srgbClr val="595959"/>
        </a:accent4>
        <a:accent5>
          <a:srgbClr val="EBE6DD"/>
        </a:accent5>
        <a:accent6>
          <a:srgbClr val="B2AA94"/>
        </a:accent6>
        <a:hlink>
          <a:srgbClr val="8B819E"/>
        </a:hlink>
        <a:folHlink>
          <a:srgbClr val="9DB1C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06</Words>
  <Application>Microsoft Office PowerPoint</Application>
  <PresentationFormat>On-screen Show (4:3)</PresentationFormat>
  <Paragraphs>117</Paragraphs>
  <Slides>18</Slides>
  <Notes>18</Notes>
  <HiddenSlides>0</HiddenSlides>
  <MMClips>0</MMClips>
  <ScaleCrop>false</ScaleCrop>
  <HeadingPairs>
    <vt:vector size="6" baseType="variant">
      <vt:variant>
        <vt:lpstr>Theme</vt:lpstr>
      </vt:variant>
      <vt:variant>
        <vt:i4>1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36" baseType="lpstr">
      <vt:lpstr>1_ArcelorMittal_ppt_special_(with_images)</vt:lpstr>
      <vt:lpstr>7_PresentationV8</vt:lpstr>
      <vt:lpstr>12_PresentationV8</vt:lpstr>
      <vt:lpstr>13_PresentationV8</vt:lpstr>
      <vt:lpstr>10_PresentationV8</vt:lpstr>
      <vt:lpstr>14_PresentationV8</vt:lpstr>
      <vt:lpstr>15_PresentationV8</vt:lpstr>
      <vt:lpstr>16_PresentationV8</vt:lpstr>
      <vt:lpstr>17_PresentationV8</vt:lpstr>
      <vt:lpstr>18_PresentationV8</vt:lpstr>
      <vt:lpstr>11_PresentationV8</vt:lpstr>
      <vt:lpstr>19_PresentationV8</vt:lpstr>
      <vt:lpstr>20_PresentationV8</vt:lpstr>
      <vt:lpstr>21_PresentationV8</vt:lpstr>
      <vt:lpstr>2_AM_Template9</vt:lpstr>
      <vt:lpstr>23_PresentationV8</vt:lpstr>
      <vt:lpstr>24_PresentationV8</vt:lpstr>
      <vt:lpstr>think-cell Slide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Slide 17</vt:lpstr>
      <vt:lpstr>Slide 18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Milagros Morales Retana</dc:creator>
  <cp:lastModifiedBy>Gerardy Jean-Claude</cp:lastModifiedBy>
  <cp:revision>25</cp:revision>
  <dcterms:created xsi:type="dcterms:W3CDTF">2017-01-30T15:36:20Z</dcterms:created>
  <dcterms:modified xsi:type="dcterms:W3CDTF">2017-01-31T09:19:14Z</dcterms:modified>
</cp:coreProperties>
</file>